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4.xml" ContentType="application/vnd.openxmlformats-officedocument.presentationml.notesSl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5.xml" ContentType="application/vnd.openxmlformats-officedocument.presentationml.notesSlide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16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17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</p:sldMasterIdLst>
  <p:notesMasterIdLst>
    <p:notesMasterId r:id="rId26"/>
  </p:notesMasterIdLst>
  <p:sldIdLst>
    <p:sldId id="256" r:id="rId3"/>
    <p:sldId id="297" r:id="rId4"/>
    <p:sldId id="304" r:id="rId5"/>
    <p:sldId id="305" r:id="rId6"/>
    <p:sldId id="298" r:id="rId7"/>
    <p:sldId id="306" r:id="rId8"/>
    <p:sldId id="307" r:id="rId9"/>
    <p:sldId id="299" r:id="rId10"/>
    <p:sldId id="308" r:id="rId11"/>
    <p:sldId id="309" r:id="rId12"/>
    <p:sldId id="310" r:id="rId13"/>
    <p:sldId id="311" r:id="rId14"/>
    <p:sldId id="312" r:id="rId15"/>
    <p:sldId id="313" r:id="rId16"/>
    <p:sldId id="314" r:id="rId17"/>
    <p:sldId id="270" r:id="rId18"/>
    <p:sldId id="300" r:id="rId19"/>
    <p:sldId id="301" r:id="rId20"/>
    <p:sldId id="302" r:id="rId21"/>
    <p:sldId id="303" r:id="rId22"/>
    <p:sldId id="296" r:id="rId23"/>
    <p:sldId id="284" r:id="rId24"/>
    <p:sldId id="283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A83C"/>
    <a:srgbClr val="E98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4" autoAdjust="0"/>
    <p:restoredTop sz="94626"/>
  </p:normalViewPr>
  <p:slideViewPr>
    <p:cSldViewPr snapToGrid="0">
      <p:cViewPr varScale="1">
        <p:scale>
          <a:sx n="121" d="100"/>
          <a:sy n="121" d="100"/>
        </p:scale>
        <p:origin x="784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041322314049589E-2"/>
          <c:y val="3.5206499661475966E-2"/>
          <c:w val="0.81050767414403779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D51-4A35-BC44-4EB0CACFAF76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D51-4A35-BC44-4EB0CACFAF76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BD51-4A35-BC44-4EB0CACFAF76}"/>
              </c:ext>
            </c:extLst>
          </c:dPt>
          <c:dLbls>
            <c:dLbl>
              <c:idx val="1"/>
              <c:layout>
                <c:manualLayout>
                  <c:x val="5.9031877213695393E-4"/>
                  <c:y val="8.12457684495599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D51-4A35-BC44-4EB0CACFAF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35</c:v>
                </c:pt>
                <c:pt idx="1">
                  <c:v>25</c:v>
                </c:pt>
                <c:pt idx="2">
                  <c:v>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D51-4A35-BC44-4EB0CACFAF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5DB-4325-8507-98D9BF93B0F0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5DB-4325-8507-98D9BF93B0F0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E5DB-4325-8507-98D9BF93B0F0}"/>
              </c:ext>
            </c:extLst>
          </c:dPt>
          <c:dLbls>
            <c:dLbl>
              <c:idx val="2"/>
              <c:layout>
                <c:manualLayout>
                  <c:x val="-2.7081922816519972E-3"/>
                  <c:y val="-1.218686526743398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5DB-4325-8507-98D9BF93B0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45</c:v>
                </c:pt>
                <c:pt idx="1">
                  <c:v>48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5DB-4325-8507-98D9BF93B0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B26-4E32-A911-EB980A3837DC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B26-4E32-A911-EB980A3837DC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B26-4E32-A911-EB980A3837DC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75</c:v>
                </c:pt>
                <c:pt idx="1">
                  <c:v>2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26-4E32-A911-EB980A383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C2D-482D-95CB-4376CB532C0D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C2D-482D-95CB-4376CB532C0D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C2D-482D-95CB-4376CB532C0D}"/>
              </c:ext>
            </c:extLst>
          </c:dPt>
          <c:dLbls>
            <c:dLbl>
              <c:idx val="0"/>
              <c:layout>
                <c:manualLayout>
                  <c:x val="5.2029520295202955E-2"/>
                  <c:y val="4.31734317343173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C2D-482D-95CB-4376CB532C0D}"/>
                </c:ext>
              </c:extLst>
            </c:dLbl>
            <c:dLbl>
              <c:idx val="1"/>
              <c:layout>
                <c:manualLayout>
                  <c:x val="-5.5719557195571957E-2"/>
                  <c:y val="-3.800738007380073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C2D-482D-95CB-4376CB532C0D}"/>
                </c:ext>
              </c:extLst>
            </c:dLbl>
            <c:dLbl>
              <c:idx val="2"/>
              <c:layout>
                <c:manualLayout>
                  <c:x val="-8.1180811808118074E-3"/>
                  <c:y val="-8.52398523985239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C2D-482D-95CB-4376CB532C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2</c:v>
                </c:pt>
                <c:pt idx="1">
                  <c:v>25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C2D-482D-95CB-4376CB532C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568-40B7-8133-4BEAF05BCA40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568-40B7-8133-4BEAF05BCA40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568-40B7-8133-4BEAF05BCA40}"/>
              </c:ext>
            </c:extLst>
          </c:dPt>
          <c:dLbls>
            <c:dLbl>
              <c:idx val="2"/>
              <c:layout>
                <c:manualLayout>
                  <c:x val="-2.7081922816519972E-3"/>
                  <c:y val="-1.083276912660798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568-40B7-8133-4BEAF05BCA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8</c:v>
                </c:pt>
                <c:pt idx="1">
                  <c:v>24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568-40B7-8133-4BEAF05BCA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9BE-4D51-B0BA-68ADEEF2A352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9BE-4D51-B0BA-68ADEEF2A352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9BE-4D51-B0BA-68ADEEF2A352}"/>
              </c:ext>
            </c:extLst>
          </c:dPt>
          <c:dLbls>
            <c:dLbl>
              <c:idx val="2"/>
              <c:layout>
                <c:manualLayout>
                  <c:x val="-2.7081922816519972E-3"/>
                  <c:y val="-9.4786729857819912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9BE-4D51-B0BA-68ADEEF2A3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67</c:v>
                </c:pt>
                <c:pt idx="1">
                  <c:v>24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9BE-4D51-B0BA-68ADEEF2A3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FA2-498A-A4C3-E99AB2914F05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FA2-498A-A4C3-E99AB2914F05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FA2-498A-A4C3-E99AB2914F05}"/>
              </c:ext>
            </c:extLst>
          </c:dPt>
          <c:dLbls>
            <c:dLbl>
              <c:idx val="0"/>
              <c:layout>
                <c:manualLayout>
                  <c:x val="5.4612546125461257E-2"/>
                  <c:y val="3.98523985239852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FA2-498A-A4C3-E99AB2914F05}"/>
                </c:ext>
              </c:extLst>
            </c:dLbl>
            <c:dLbl>
              <c:idx val="1"/>
              <c:layout>
                <c:manualLayout>
                  <c:x val="-6.383763837638376E-2"/>
                  <c:y val="-2.50922509225092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FA2-498A-A4C3-E99AB2914F05}"/>
                </c:ext>
              </c:extLst>
            </c:dLbl>
            <c:dLbl>
              <c:idx val="2"/>
              <c:layout>
                <c:manualLayout>
                  <c:x val="-2.0295202952029519E-2"/>
                  <c:y val="-7.97047970479704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FA2-498A-A4C3-E99AB2914F0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0</c:v>
                </c:pt>
                <c:pt idx="1">
                  <c:v>22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A2-498A-A4C3-E99AB2914F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865-4C63-8239-FE7853E97720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865-4C63-8239-FE7853E9772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65-4C63-8239-FE7853E97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A8D-4F57-AFA4-38CDABF6362F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A8D-4F57-AFA4-38CDABF6362F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8D-4F57-AFA4-38CDABF636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873-487D-86B3-53FAC5177A9D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873-487D-86B3-53FAC5177A9D}"/>
              </c:ext>
            </c:extLst>
          </c:dPt>
          <c:dPt>
            <c:idx val="2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873-487D-86B3-53FAC5177A9D}"/>
              </c:ext>
            </c:extLst>
          </c:dPt>
          <c:dLbls>
            <c:dLbl>
              <c:idx val="0"/>
              <c:layout>
                <c:manualLayout>
                  <c:x val="4.3911439114391146E-2"/>
                  <c:y val="5.313653136531365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873-487D-86B3-53FAC5177A9D}"/>
                </c:ext>
              </c:extLst>
            </c:dLbl>
            <c:dLbl>
              <c:idx val="1"/>
              <c:layout>
                <c:manualLayout>
                  <c:x val="-4.5387453874538748E-2"/>
                  <c:y val="-5.166051660516605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873-487D-86B3-53FAC5177A9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8</c:v>
                </c:pt>
                <c:pt idx="1">
                  <c:v>2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73-487D-86B3-53FAC5177A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96-4204-B053-65ADA5A76310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996-4204-B053-65ADA5A7631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68</c:v>
                </c:pt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996-4204-B053-65ADA5A763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5041322314049589E-2"/>
          <c:y val="3.5206499661475966E-2"/>
          <c:w val="0.81050767414403779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83D-4540-845B-72C31A922DEF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83D-4540-845B-72C31A922DEF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83D-4540-845B-72C31A922DEF}"/>
              </c:ext>
            </c:extLst>
          </c:dPt>
          <c:dLbls>
            <c:dLbl>
              <c:idx val="1"/>
              <c:layout>
                <c:manualLayout>
                  <c:x val="5.9031877213695393E-4"/>
                  <c:y val="-1.354096140825998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3D-4540-845B-72C31A922D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45</c:v>
                </c:pt>
                <c:pt idx="1">
                  <c:v>21</c:v>
                </c:pt>
                <c:pt idx="2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83D-4540-845B-72C31A922D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B35-4E1A-952D-A0B0E24091C0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B35-4E1A-952D-A0B0E24091C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3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35-4E1A-952D-A0B0E24091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198-466F-B35B-7E9C287864A4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198-466F-B35B-7E9C287864A4}"/>
              </c:ext>
            </c:extLst>
          </c:dPt>
          <c:dLbls>
            <c:dLbl>
              <c:idx val="0"/>
              <c:layout>
                <c:manualLayout>
                  <c:x val="5.6826568265682657E-2"/>
                  <c:y val="3.616236162361623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198-466F-B35B-7E9C287864A4}"/>
                </c:ext>
              </c:extLst>
            </c:dLbl>
            <c:dLbl>
              <c:idx val="1"/>
              <c:layout>
                <c:manualLayout>
                  <c:x val="-5.6826568265682657E-2"/>
                  <c:y val="-3.616236162361623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198-466F-B35B-7E9C287864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8</c:v>
                </c:pt>
                <c:pt idx="1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98-466F-B35B-7E9C287864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430-4DBC-B26E-3C43C5CD5917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430-4DBC-B26E-3C43C5CD591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61</c:v>
                </c:pt>
                <c:pt idx="1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430-4DBC-B26E-3C43C5CD59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A50-4B66-A85D-8FE45E5E45B0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A50-4B66-A85D-8FE45E5E45B0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1</c:v>
                </c:pt>
                <c:pt idx="1">
                  <c:v>28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50-4B66-A85D-8FE45E5E45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528-4980-AA6A-56E4244DAAAC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528-4980-AA6A-56E4244DAAAC}"/>
              </c:ext>
            </c:extLst>
          </c:dPt>
          <c:dLbls>
            <c:dLbl>
              <c:idx val="0"/>
              <c:layout>
                <c:manualLayout>
                  <c:x val="6.383763837638376E-2"/>
                  <c:y val="2.50922509225092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528-4980-AA6A-56E4244DAAAC}"/>
                </c:ext>
              </c:extLst>
            </c:dLbl>
            <c:dLbl>
              <c:idx val="1"/>
              <c:layout>
                <c:manualLayout>
                  <c:x val="-6.383763837638376E-2"/>
                  <c:y val="-2.50922509225092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528-4980-AA6A-56E4244DAAA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62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28-4980-AA6A-56E4244DAAA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294-4E61-A650-236969724287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294-4E61-A650-23696972428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94-4E61-A650-2369697242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979-4CC3-ACCE-81F3D2F68EEC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979-4CC3-ACCE-81F3D2F68EE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3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79-4CC3-ACCE-81F3D2F68E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38F-45F2-B284-721F110F117A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38F-45F2-B284-721F110F117A}"/>
              </c:ext>
            </c:extLst>
          </c:dPt>
          <c:dLbls>
            <c:dLbl>
              <c:idx val="0"/>
              <c:layout>
                <c:manualLayout>
                  <c:x val="4.3911439114391146E-2"/>
                  <c:y val="5.313653136531365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8F-45F2-B284-721F110F117A}"/>
                </c:ext>
              </c:extLst>
            </c:dLbl>
            <c:dLbl>
              <c:idx val="1"/>
              <c:layout>
                <c:manualLayout>
                  <c:x val="-4.3911439114391146E-2"/>
                  <c:y val="-5.313653136531365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8F-45F2-B284-721F110F11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78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8F-45F2-B284-721F110F11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125670041691489E-2"/>
          <c:y val="3.5206499661475966E-2"/>
          <c:w val="0.81774865991661705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C51-4C81-9DE2-56FBFE4BA44F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C51-4C81-9DE2-56FBFE4BA44F}"/>
              </c:ext>
            </c:extLst>
          </c:dPt>
          <c:dLbls>
            <c:dLbl>
              <c:idx val="0"/>
              <c:layout>
                <c:manualLayout>
                  <c:x val="1.1911852293031567E-3"/>
                  <c:y val="5.416384563303994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C51-4C81-9DE2-56FBFE4BA44F}"/>
                </c:ext>
              </c:extLst>
            </c:dLbl>
            <c:dLbl>
              <c:idx val="1"/>
              <c:layout>
                <c:manualLayout>
                  <c:x val="-2.3823704586063135E-3"/>
                  <c:y val="-1.218686526743398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C51-4C81-9DE2-56FBFE4BA44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93</c:v>
                </c:pt>
                <c:pt idx="1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51-4C81-9DE2-56FBFE4BA4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125670041691489E-2"/>
          <c:y val="3.5206499661475966E-2"/>
          <c:w val="0.81774865991661705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C98-4195-8A18-9A4EFF06580B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C98-4195-8A18-9A4EFF06580B}"/>
              </c:ext>
            </c:extLst>
          </c:dPt>
          <c:dLbls>
            <c:dLbl>
              <c:idx val="0"/>
              <c:layout>
                <c:manualLayout>
                  <c:x val="1.1911852293031567E-3"/>
                  <c:y val="6.770480704129993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C98-4195-8A18-9A4EFF06580B}"/>
                </c:ext>
              </c:extLst>
            </c:dLbl>
            <c:dLbl>
              <c:idx val="1"/>
              <c:layout>
                <c:manualLayout>
                  <c:x val="-2.3823704586063135E-3"/>
                  <c:y val="-1.354096140825998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C98-4195-8A18-9A4EFF06580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94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98-4195-8A18-9A4EFF0658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8CA-4437-BCDF-FDE2B8A53C2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8CA-4437-BCDF-FDE2B8A53C2C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8CA-4437-BCDF-FDE2B8A53C2C}"/>
              </c:ext>
            </c:extLst>
          </c:dPt>
          <c:dLbls>
            <c:dLbl>
              <c:idx val="0"/>
              <c:layout>
                <c:manualLayout>
                  <c:x val="6.4206642066420669E-2"/>
                  <c:y val="-2.287822878228782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8CA-4437-BCDF-FDE2B8A53C2C}"/>
                </c:ext>
              </c:extLst>
            </c:dLbl>
            <c:dLbl>
              <c:idx val="1"/>
              <c:layout>
                <c:manualLayout>
                  <c:x val="-3.7269372693726939E-2"/>
                  <c:y val="5.904059040590405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8CA-4437-BCDF-FDE2B8A53C2C}"/>
                </c:ext>
              </c:extLst>
            </c:dLbl>
            <c:dLbl>
              <c:idx val="2"/>
              <c:layout>
                <c:manualLayout>
                  <c:x val="-4.2435424354243544E-2"/>
                  <c:y val="-5.461254612546125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8CA-4437-BCDF-FDE2B8A53C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39</c:v>
                </c:pt>
                <c:pt idx="1">
                  <c:v>40</c:v>
                </c:pt>
                <c:pt idx="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8CA-4437-BCDF-FDE2B8A53C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484-4148-BD6F-A81A6257BBE7}"/>
              </c:ext>
            </c:extLst>
          </c:dPt>
          <c:dPt>
            <c:idx val="1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484-4148-BD6F-A81A6257BBE7}"/>
              </c:ext>
            </c:extLst>
          </c:dPt>
          <c:dLbls>
            <c:dLbl>
              <c:idx val="0"/>
              <c:layout>
                <c:manualLayout>
                  <c:x val="1.2546125461254613E-2"/>
                  <c:y val="8.044280442804428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484-4148-BD6F-A81A6257BBE7}"/>
                </c:ext>
              </c:extLst>
            </c:dLbl>
            <c:dLbl>
              <c:idx val="1"/>
              <c:layout>
                <c:manualLayout>
                  <c:x val="-1.3284132841328414E-2"/>
                  <c:y val="-8.30258302583025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484-4148-BD6F-A81A6257BB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95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84-4148-BD6F-A81A6257BB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125670041691489E-2"/>
          <c:y val="3.5206499661475966E-2"/>
          <c:w val="0.81774865991661705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792-4BCA-8D5D-FE554DA8196E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792-4BCA-8D5D-FE554DA8196E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792-4BCA-8D5D-FE554DA8196E}"/>
              </c:ext>
            </c:extLst>
          </c:dPt>
          <c:dLbls>
            <c:dLbl>
              <c:idx val="0"/>
              <c:layout>
                <c:manualLayout>
                  <c:x val="-5.9559261465157837E-4"/>
                  <c:y val="-1.354096140825998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792-4BCA-8D5D-FE554DA8196E}"/>
                </c:ext>
              </c:extLst>
            </c:dLbl>
            <c:dLbl>
              <c:idx val="2"/>
              <c:layout>
                <c:manualLayout>
                  <c:x val="-1.1911852293031567E-3"/>
                  <c:y val="-4.739336492890995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792-4BCA-8D5D-FE554DA819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9</c:v>
                </c:pt>
                <c:pt idx="1">
                  <c:v>2</c:v>
                </c:pt>
                <c:pt idx="2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92-4BCA-8D5D-FE554DA81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125670041691489E-2"/>
          <c:y val="3.5206499661475966E-2"/>
          <c:w val="0.81774865991661705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187-4F0F-A018-72D40146DEF6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187-4F0F-A018-72D40146DEF6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187-4F0F-A018-72D40146DEF6}"/>
              </c:ext>
            </c:extLst>
          </c:dPt>
          <c:dLbls>
            <c:dLbl>
              <c:idx val="0"/>
              <c:layout>
                <c:manualLayout>
                  <c:x val="5.9559261465157837E-4"/>
                  <c:y val="1.3540961408259986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87-4F0F-A018-72D40146D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91</c:v>
                </c:pt>
                <c:pt idx="1">
                  <c:v>2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87-4F0F-A018-72D40146D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5ED-4F92-A008-F7A2D55D86A8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5ED-4F92-A008-F7A2D55D86A8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5ED-4F92-A008-F7A2D55D86A8}"/>
              </c:ext>
            </c:extLst>
          </c:dPt>
          <c:dLbls>
            <c:dLbl>
              <c:idx val="0"/>
              <c:layout>
                <c:manualLayout>
                  <c:x val="2.3616236162361623E-2"/>
                  <c:y val="7.306273062730626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5ED-4F92-A008-F7A2D55D86A8}"/>
                </c:ext>
              </c:extLst>
            </c:dLbl>
            <c:dLbl>
              <c:idx val="1"/>
              <c:layout>
                <c:manualLayout>
                  <c:x val="-3.9852398523985241E-2"/>
                  <c:y val="-6.715867158671587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5ED-4F92-A008-F7A2D55D86A8}"/>
                </c:ext>
              </c:extLst>
            </c:dLbl>
            <c:dLbl>
              <c:idx val="2"/>
              <c:layout>
                <c:manualLayout>
                  <c:x val="-1.808118081180812E-2"/>
                  <c:y val="-8.118081180811807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5ED-4F92-A008-F7A2D55D86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90</c:v>
                </c:pt>
                <c:pt idx="1">
                  <c:v>3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5ED-4F92-A008-F7A2D55D86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9F0-48CD-BF5B-67632EE0C7E2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C9F0-48CD-BF5B-67632EE0C7E2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9F0-48CD-BF5B-67632EE0C7E2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40</c:v>
                </c:pt>
                <c:pt idx="1">
                  <c:v>38</c:v>
                </c:pt>
                <c:pt idx="2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9F0-48CD-BF5B-67632EE0C7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A14-45D7-AE14-F7E5E8E00966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A14-45D7-AE14-F7E5E8E00966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A14-45D7-AE14-F7E5E8E00966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43</c:v>
                </c:pt>
                <c:pt idx="1">
                  <c:v>36</c:v>
                </c:pt>
                <c:pt idx="2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14-45D7-AE14-F7E5E8E009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29B-48FE-BA13-FF73FF43C44B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29B-48FE-BA13-FF73FF43C44B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29B-48FE-BA13-FF73FF43C44B}"/>
              </c:ext>
            </c:extLst>
          </c:dPt>
          <c:dPt>
            <c:idx val="3"/>
            <c:bubble3D val="0"/>
            <c:spPr>
              <a:solidFill>
                <a:srgbClr val="FCCD2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29B-48FE-BA13-FF73FF43C44B}"/>
              </c:ext>
            </c:extLst>
          </c:dPt>
          <c:dLbls>
            <c:dLbl>
              <c:idx val="0"/>
              <c:layout>
                <c:manualLayout>
                  <c:x val="6.7158671586715873E-2"/>
                  <c:y val="-1.918819188191881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29B-48FE-BA13-FF73FF43C44B}"/>
                </c:ext>
              </c:extLst>
            </c:dLbl>
            <c:dLbl>
              <c:idx val="1"/>
              <c:layout>
                <c:manualLayout>
                  <c:x val="-3.8007380073800737E-2"/>
                  <c:y val="5.977859778597786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29B-48FE-BA13-FF73FF43C44B}"/>
                </c:ext>
              </c:extLst>
            </c:dLbl>
            <c:dLbl>
              <c:idx val="2"/>
              <c:layout>
                <c:manualLayout>
                  <c:x val="-4.6863468634686344E-2"/>
                  <c:y val="-4.981549815498154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29B-48FE-BA13-FF73FF43C4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41</c:v>
                </c:pt>
                <c:pt idx="1">
                  <c:v>36</c:v>
                </c:pt>
                <c:pt idx="2">
                  <c:v>22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9B-48FE-BA13-FF73FF43C4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206499661475966E-2"/>
          <c:y val="3.5206499661475966E-2"/>
          <c:w val="0.92958700067704803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697-409E-B6D4-1CCBC66D495B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697-409E-B6D4-1CCBC66D495B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697-409E-B6D4-1CCBC66D495B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78</c:v>
                </c:pt>
                <c:pt idx="1">
                  <c:v>18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97-409E-B6D4-1CCBC66D49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125670041691489E-2"/>
          <c:y val="3.5206499661475966E-2"/>
          <c:w val="0.81774865991661705"/>
          <c:h val="0.9295870006770480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00C-4C49-B2A5-2EC84FB638F8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00C-4C49-B2A5-2EC84FB638F8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00C-4C49-B2A5-2EC84FB638F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00C-4C49-B2A5-2EC84FB638F8}"/>
              </c:ext>
            </c:extLst>
          </c:dPt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00C-4C49-B2A5-2EC84FB638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78</c:v>
                </c:pt>
                <c:pt idx="1">
                  <c:v>19</c:v>
                </c:pt>
                <c:pt idx="2">
                  <c:v>11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0C-4C49-B2A5-2EC84FB638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188191881918819E-2"/>
          <c:y val="1.9188191881918819E-2"/>
          <c:w val="0.96162361623616233"/>
          <c:h val="0.96162361623616233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13C80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C55-4247-AE6D-35944A3BB1F3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C55-4247-AE6D-35944A3BB1F3}"/>
              </c:ext>
            </c:extLst>
          </c:dPt>
          <c:dPt>
            <c:idx val="2"/>
            <c:bubble3D val="0"/>
            <c:spPr>
              <a:solidFill>
                <a:srgbClr val="C30C3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C55-4247-AE6D-35944A3BB1F3}"/>
              </c:ext>
            </c:extLst>
          </c:dPt>
          <c:dLbls>
            <c:dLbl>
              <c:idx val="0"/>
              <c:layout>
                <c:manualLayout>
                  <c:x val="4.8339483394833946E-2"/>
                  <c:y val="4.833948339483394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C55-4247-AE6D-35944A3BB1F3}"/>
                </c:ext>
              </c:extLst>
            </c:dLbl>
            <c:dLbl>
              <c:idx val="1"/>
              <c:layout>
                <c:manualLayout>
                  <c:x val="-5.2029520295202955E-2"/>
                  <c:y val="-4.31734317343173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C55-4247-AE6D-35944A3BB1F3}"/>
                </c:ext>
              </c:extLst>
            </c:dLbl>
            <c:dLbl>
              <c:idx val="2"/>
              <c:layout>
                <c:manualLayout>
                  <c:x val="-8.1180811808118074E-3"/>
                  <c:y val="-8.523985239852398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C55-4247-AE6D-35944A3BB1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5</c:v>
                </c:pt>
                <c:pt idx="1">
                  <c:v>22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C55-4247-AE6D-35944A3BB1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5DD14E-31D0-411D-967A-819608A6BAB8}" type="datetimeFigureOut">
              <a:rPr lang="en-US" smtClean="0"/>
              <a:t>11/1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8D4DFE-8812-475D-A343-BE9072A624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0150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8D4DFE-8812-475D-A343-BE9072A6248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4090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51607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94619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48867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6019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26887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62773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8632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68875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452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e are watching the trends here for health analysis.</a:t>
            </a:r>
          </a:p>
          <a:p>
            <a:endParaRPr lang="en-US" dirty="0"/>
          </a:p>
          <a:p>
            <a:r>
              <a:rPr lang="en-US" dirty="0"/>
              <a:t>We are trying to keep</a:t>
            </a:r>
            <a:r>
              <a:rPr lang="en-US" baseline="0" dirty="0"/>
              <a:t> our population out of the high risk categories, and get them into a lower category.  Both saving the individual and the employer many health care dollars, not to mention the time and </a:t>
            </a:r>
            <a:r>
              <a:rPr lang="en-US" baseline="0" dirty="0" err="1"/>
              <a:t>absentism</a:t>
            </a:r>
            <a:r>
              <a:rPr lang="en-US" baseline="0" dirty="0"/>
              <a:t> associated.</a:t>
            </a:r>
          </a:p>
          <a:p>
            <a:r>
              <a:rPr lang="en-US" baseline="0" dirty="0"/>
              <a:t>We had one study that shows a higher risk employee spends about $8,000 more every year on health care dollars than a low risk employee.  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8D4DFE-8812-475D-A343-BE9072A6248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661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87437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7168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8D4DFE-8812-475D-A343-BE9072A6248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037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16382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1732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55710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1520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891980-0BF3-461C-95D4-87E094E9751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103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370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3074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5788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65834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4632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8689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0233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4436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81057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7740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3024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901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2796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7264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996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020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146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3399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2762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7809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067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8963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B7214E-997B-E54D-8875-8AE8A5EDBCF7}" type="datetimeFigureOut">
              <a:rPr lang="en-US" smtClean="0"/>
              <a:t>11/1/23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6DA33E-FDE4-6D43-9955-BA750F78DD7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5031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F52105F-B992-45B9-B04D-3B256CE098D9}" type="datetimeFigureOut">
              <a:rPr lang="en-US" smtClean="0"/>
              <a:t>11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1F92B1B3-40FB-4CB4-AE6E-478F17EB4825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1477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6472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5CE8C2F6-1044-4D9D-B5B8-F94DDB8DC500}" type="datetimeFigureOut">
              <a:rPr lang="en-US" smtClean="0"/>
              <a:t>11/1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DCE744C8-6C75-4AC5-B624-650A214173C0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212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oleObject" Target="../embeddings/oleObject12.bin"/><Relationship Id="rId3" Type="http://schemas.openxmlformats.org/officeDocument/2006/relationships/tags" Target="../tags/tag85.xml"/><Relationship Id="rId21" Type="http://schemas.openxmlformats.org/officeDocument/2006/relationships/chart" Target="../charts/chart17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84.xml"/><Relationship Id="rId16" Type="http://schemas.openxmlformats.org/officeDocument/2006/relationships/slideLayout" Target="../slideLayouts/slideLayout18.xml"/><Relationship Id="rId20" Type="http://schemas.openxmlformats.org/officeDocument/2006/relationships/chart" Target="../charts/chart16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23" Type="http://schemas.openxmlformats.org/officeDocument/2006/relationships/image" Target="../media/image6.png"/><Relationship Id="rId10" Type="http://schemas.openxmlformats.org/officeDocument/2006/relationships/tags" Target="../tags/tag92.xml"/><Relationship Id="rId19" Type="http://schemas.openxmlformats.org/officeDocument/2006/relationships/image" Target="../media/image1.emf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Relationship Id="rId22" Type="http://schemas.openxmlformats.org/officeDocument/2006/relationships/chart" Target="../charts/chart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slideLayout" Target="../slideLayouts/slideLayout18.xml"/><Relationship Id="rId18" Type="http://schemas.openxmlformats.org/officeDocument/2006/relationships/chart" Target="../charts/chart20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chart" Target="../charts/chart19.xml"/><Relationship Id="rId2" Type="http://schemas.openxmlformats.org/officeDocument/2006/relationships/tags" Target="../tags/tag99.xml"/><Relationship Id="rId16" Type="http://schemas.openxmlformats.org/officeDocument/2006/relationships/image" Target="../media/image1.emf"/><Relationship Id="rId20" Type="http://schemas.openxmlformats.org/officeDocument/2006/relationships/image" Target="../media/image6.png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oleObject" Target="../embeddings/oleObject13.bin"/><Relationship Id="rId10" Type="http://schemas.openxmlformats.org/officeDocument/2006/relationships/tags" Target="../tags/tag107.xml"/><Relationship Id="rId19" Type="http://schemas.openxmlformats.org/officeDocument/2006/relationships/chart" Target="../charts/chart21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slideLayout" Target="../slideLayouts/slideLayout18.xml"/><Relationship Id="rId18" Type="http://schemas.openxmlformats.org/officeDocument/2006/relationships/chart" Target="../charts/chart23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chart" Target="../charts/chart22.xml"/><Relationship Id="rId2" Type="http://schemas.openxmlformats.org/officeDocument/2006/relationships/tags" Target="../tags/tag111.xml"/><Relationship Id="rId16" Type="http://schemas.openxmlformats.org/officeDocument/2006/relationships/image" Target="../media/image1.emf"/><Relationship Id="rId20" Type="http://schemas.openxmlformats.org/officeDocument/2006/relationships/image" Target="../media/image6.png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119.xml"/><Relationship Id="rId19" Type="http://schemas.openxmlformats.org/officeDocument/2006/relationships/chart" Target="../charts/chart24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slideLayout" Target="../slideLayouts/slideLayout18.xml"/><Relationship Id="rId18" Type="http://schemas.openxmlformats.org/officeDocument/2006/relationships/chart" Target="../charts/chart26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chart" Target="../charts/chart25.xml"/><Relationship Id="rId2" Type="http://schemas.openxmlformats.org/officeDocument/2006/relationships/tags" Target="../tags/tag123.xml"/><Relationship Id="rId16" Type="http://schemas.openxmlformats.org/officeDocument/2006/relationships/image" Target="../media/image1.emf"/><Relationship Id="rId20" Type="http://schemas.openxmlformats.org/officeDocument/2006/relationships/image" Target="../media/image6.png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131.xml"/><Relationship Id="rId19" Type="http://schemas.openxmlformats.org/officeDocument/2006/relationships/chart" Target="../charts/chart27.xml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chart" Target="../charts/chart28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image" Target="../media/image1.emf"/><Relationship Id="rId2" Type="http://schemas.openxmlformats.org/officeDocument/2006/relationships/tags" Target="../tags/tag135.xml"/><Relationship Id="rId16" Type="http://schemas.openxmlformats.org/officeDocument/2006/relationships/image" Target="../media/image6.png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38.xml"/><Relationship Id="rId15" Type="http://schemas.openxmlformats.org/officeDocument/2006/relationships/chart" Target="../charts/chart30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137.xml"/><Relationship Id="rId9" Type="http://schemas.openxmlformats.org/officeDocument/2006/relationships/slideLayout" Target="../slideLayouts/slideLayout18.xml"/><Relationship Id="rId14" Type="http://schemas.openxmlformats.org/officeDocument/2006/relationships/chart" Target="../charts/chart2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18" Type="http://schemas.openxmlformats.org/officeDocument/2006/relationships/chart" Target="../charts/chart31.xml"/><Relationship Id="rId3" Type="http://schemas.openxmlformats.org/officeDocument/2006/relationships/tags" Target="../tags/tag144.xml"/><Relationship Id="rId21" Type="http://schemas.openxmlformats.org/officeDocument/2006/relationships/image" Target="../media/image6.png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image" Target="../media/image1.emf"/><Relationship Id="rId2" Type="http://schemas.openxmlformats.org/officeDocument/2006/relationships/tags" Target="../tags/tag143.xml"/><Relationship Id="rId16" Type="http://schemas.openxmlformats.org/officeDocument/2006/relationships/oleObject" Target="../embeddings/oleObject17.bin"/><Relationship Id="rId20" Type="http://schemas.openxmlformats.org/officeDocument/2006/relationships/chart" Target="../charts/chart3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5" Type="http://schemas.openxmlformats.org/officeDocument/2006/relationships/notesSlide" Target="../notesSlides/notesSlide13.xml"/><Relationship Id="rId10" Type="http://schemas.openxmlformats.org/officeDocument/2006/relationships/tags" Target="../tags/tag151.xml"/><Relationship Id="rId19" Type="http://schemas.openxmlformats.org/officeDocument/2006/relationships/chart" Target="../charts/chart32.xml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6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image" Target="../media/image1.emf"/><Relationship Id="rId3" Type="http://schemas.openxmlformats.org/officeDocument/2006/relationships/tags" Target="../tags/tag8.xml"/><Relationship Id="rId21" Type="http://schemas.openxmlformats.org/officeDocument/2006/relationships/chart" Target="../charts/chart3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oleObject" Target="../embeddings/oleObject5.bin"/><Relationship Id="rId2" Type="http://schemas.openxmlformats.org/officeDocument/2006/relationships/tags" Target="../tags/tag7.xml"/><Relationship Id="rId16" Type="http://schemas.openxmlformats.org/officeDocument/2006/relationships/notesSlide" Target="../notesSlides/notesSlide2.xml"/><Relationship Id="rId20" Type="http://schemas.openxmlformats.org/officeDocument/2006/relationships/chart" Target="../charts/chart2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Layout" Target="../slideLayouts/slideLayout7.xml"/><Relationship Id="rId23" Type="http://schemas.openxmlformats.org/officeDocument/2006/relationships/image" Target="../media/image6.png"/><Relationship Id="rId10" Type="http://schemas.openxmlformats.org/officeDocument/2006/relationships/tags" Target="../tags/tag15.xml"/><Relationship Id="rId19" Type="http://schemas.openxmlformats.org/officeDocument/2006/relationships/chart" Target="../charts/chart1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slideLayout" Target="../slideLayouts/slideLayout18.xml"/><Relationship Id="rId3" Type="http://schemas.openxmlformats.org/officeDocument/2006/relationships/tags" Target="../tags/tag22.xml"/><Relationship Id="rId21" Type="http://schemas.openxmlformats.org/officeDocument/2006/relationships/image" Target="../media/image1.emf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image" Target="../media/image6.png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oleObject" Target="../embeddings/oleObject6.bin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chart" Target="../charts/chart6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chart" Target="../charts/chart5.xml"/><Relationship Id="rId10" Type="http://schemas.openxmlformats.org/officeDocument/2006/relationships/tags" Target="../tags/tag29.xml"/><Relationship Id="rId19" Type="http://schemas.openxmlformats.org/officeDocument/2006/relationships/notesSlide" Target="../notesSlides/notesSlide3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chart" Target="../charts/char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7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oleObject" Target="../embeddings/oleObject8.bin"/><Relationship Id="rId3" Type="http://schemas.openxmlformats.org/officeDocument/2006/relationships/tags" Target="../tags/tag40.xml"/><Relationship Id="rId21" Type="http://schemas.openxmlformats.org/officeDocument/2006/relationships/chart" Target="../charts/chart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39.xml"/><Relationship Id="rId16" Type="http://schemas.openxmlformats.org/officeDocument/2006/relationships/slideLayout" Target="../slideLayouts/slideLayout18.xml"/><Relationship Id="rId20" Type="http://schemas.openxmlformats.org/officeDocument/2006/relationships/chart" Target="../charts/chart7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image" Target="../media/image6.png"/><Relationship Id="rId10" Type="http://schemas.openxmlformats.org/officeDocument/2006/relationships/tags" Target="../tags/tag47.xml"/><Relationship Id="rId19" Type="http://schemas.openxmlformats.org/officeDocument/2006/relationships/image" Target="../media/image1.emf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chart" Target="../charts/char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oleObject" Target="../embeddings/oleObject9.bin"/><Relationship Id="rId3" Type="http://schemas.openxmlformats.org/officeDocument/2006/relationships/tags" Target="../tags/tag55.xml"/><Relationship Id="rId21" Type="http://schemas.openxmlformats.org/officeDocument/2006/relationships/chart" Target="../charts/chart11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notesSlide" Target="../notesSlides/notesSlide6.xml"/><Relationship Id="rId2" Type="http://schemas.openxmlformats.org/officeDocument/2006/relationships/tags" Target="../tags/tag54.xml"/><Relationship Id="rId16" Type="http://schemas.openxmlformats.org/officeDocument/2006/relationships/slideLayout" Target="../slideLayouts/slideLayout18.xml"/><Relationship Id="rId20" Type="http://schemas.openxmlformats.org/officeDocument/2006/relationships/chart" Target="../charts/chart10.xml"/><Relationship Id="rId1" Type="http://schemas.openxmlformats.org/officeDocument/2006/relationships/tags" Target="../tags/tag53.x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image" Target="../media/image6.png"/><Relationship Id="rId10" Type="http://schemas.openxmlformats.org/officeDocument/2006/relationships/tags" Target="../tags/tag62.xml"/><Relationship Id="rId19" Type="http://schemas.openxmlformats.org/officeDocument/2006/relationships/image" Target="../media/image1.emf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chart" Target="../charts/char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image" Target="../media/image1.emf"/><Relationship Id="rId3" Type="http://schemas.openxmlformats.org/officeDocument/2006/relationships/tags" Target="../tags/tag71.xml"/><Relationship Id="rId21" Type="http://schemas.openxmlformats.org/officeDocument/2006/relationships/chart" Target="../charts/chart15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oleObject" Target="../embeddings/oleObject11.bin"/><Relationship Id="rId2" Type="http://schemas.openxmlformats.org/officeDocument/2006/relationships/tags" Target="../tags/tag70.xml"/><Relationship Id="rId16" Type="http://schemas.openxmlformats.org/officeDocument/2006/relationships/notesSlide" Target="../notesSlides/notesSlide7.xml"/><Relationship Id="rId20" Type="http://schemas.openxmlformats.org/officeDocument/2006/relationships/chart" Target="../charts/chart14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slideLayout" Target="../slideLayouts/slideLayout18.xml"/><Relationship Id="rId10" Type="http://schemas.openxmlformats.org/officeDocument/2006/relationships/tags" Target="../tags/tag78.xml"/><Relationship Id="rId19" Type="http://schemas.openxmlformats.org/officeDocument/2006/relationships/chart" Target="../charts/chart13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871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15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30" b="14415"/>
          <a:stretch>
            <a:fillRect/>
          </a:stretch>
        </p:blipFill>
        <p:spPr bwMode="auto">
          <a:xfrm>
            <a:off x="452284" y="942392"/>
            <a:ext cx="8052068" cy="453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3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2" t="6969" r="7817" b="12720"/>
          <a:stretch>
            <a:fillRect/>
          </a:stretch>
        </p:blipFill>
        <p:spPr bwMode="auto">
          <a:xfrm>
            <a:off x="0" y="763017"/>
            <a:ext cx="2609851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7"/>
          <p:cNvGrpSpPr/>
          <p:nvPr/>
        </p:nvGrpSpPr>
        <p:grpSpPr>
          <a:xfrm>
            <a:off x="0" y="2668017"/>
            <a:ext cx="2609851" cy="413087"/>
            <a:chOff x="7473952" y="1786942"/>
            <a:chExt cx="2327275" cy="346075"/>
          </a:xfrm>
        </p:grpSpPr>
        <p:pic>
          <p:nvPicPr>
            <p:cNvPr id="13324" name="Picture 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3952" y="1786942"/>
              <a:ext cx="2327275" cy="346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325" name="TextBox 4"/>
            <p:cNvSpPr txBox="1">
              <a:spLocks noChangeArrowheads="1"/>
            </p:cNvSpPr>
            <p:nvPr/>
          </p:nvSpPr>
          <p:spPr bwMode="auto">
            <a:xfrm>
              <a:off x="7575552" y="1790702"/>
              <a:ext cx="2124075" cy="257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ＭＳ Ｐゴシック" charset="0"/>
                </a:defRPr>
              </a:lvl9pPr>
            </a:lstStyle>
            <a:p>
              <a:pPr algn="ctr" defTabSz="457200" eaLnBrk="1" hangingPunct="1"/>
              <a:r>
                <a:rPr lang="en-US" sz="1400" dirty="0">
                  <a:solidFill>
                    <a:prstClr val="white"/>
                  </a:solidFill>
                  <a:latin typeface="Avenir Black" charset="0"/>
                  <a:cs typeface="Avenir Black" charset="0"/>
                </a:rPr>
                <a:t>Employee Wellness</a:t>
              </a: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9156150" y="1070460"/>
            <a:ext cx="3199174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2600" b="1" dirty="0">
                <a:latin typeface="+mj-lt"/>
                <a:cs typeface="Times New Roman"/>
              </a:rPr>
              <a:t>2023 Employee Wellness </a:t>
            </a:r>
          </a:p>
          <a:p>
            <a:pPr algn="ctr" defTabSz="457200"/>
            <a:r>
              <a:rPr lang="en-US" sz="2600" b="1" dirty="0">
                <a:latin typeface="+mj-lt"/>
                <a:cs typeface="Times New Roman"/>
              </a:rPr>
              <a:t>Health Assessment Repor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286531" y="4226183"/>
            <a:ext cx="293841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/>
              <a:t>American Heart Association Healthy Workplace Award Status</a:t>
            </a:r>
            <a:r>
              <a:rPr lang="en-US" sz="2200" i="1" dirty="0"/>
              <a:t>:</a:t>
            </a:r>
          </a:p>
          <a:p>
            <a:pPr algn="ctr"/>
            <a:r>
              <a:rPr lang="en-US" sz="2200" b="1" i="1" dirty="0"/>
              <a:t>Silver 2021 &amp; Gold 2022</a:t>
            </a:r>
          </a:p>
          <a:p>
            <a:pPr algn="ctr"/>
            <a:r>
              <a:rPr lang="en-US" sz="2200" b="1" i="1" dirty="0"/>
              <a:t>GOLD 2023!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702299" y="2902467"/>
            <a:ext cx="2106876" cy="118448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680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831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9"/>
            <a:ext cx="10058400" cy="83184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LDL Results (Unhealthy Cholesterol)</a:t>
            </a:r>
            <a:endParaRPr lang="en-US" dirty="0"/>
          </a:p>
        </p:txBody>
      </p:sp>
      <p:graphicFrame>
        <p:nvGraphicFramePr>
          <p:cNvPr id="63" name="Chart 62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5446660"/>
              </p:ext>
            </p:extLst>
          </p:nvPr>
        </p:nvGraphicFramePr>
        <p:xfrm>
          <a:off x="905351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52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407525" y="3154363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8E06C272-46A1-4872-B90C-9513CC3A4B3C}" type="datetime'''''2''''''''''''''5''''''''''''''''''''''''%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5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633075" y="4379913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7EE3B25F-70A7-4DA2-A50D-CCDEC1F1D7FD}" type="datetime'''''''''7''''''''''5''''''''''''''''''''''''''%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75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328 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307 Total Participants </a:t>
            </a:r>
          </a:p>
        </p:txBody>
      </p:sp>
      <p:graphicFrame>
        <p:nvGraphicFramePr>
          <p:cNvPr id="64" name="Chart 6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58455414"/>
              </p:ext>
            </p:extLst>
          </p:nvPr>
        </p:nvGraphicFramePr>
        <p:xfrm>
          <a:off x="631666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896225" y="4379913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9AFC8DD0-CD2C-4833-8B6B-DB8F4E121274}" type="datetime'''''''''''''''7''''''''''''''''''''''''''5''''''''''''''''''%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75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670675" y="3154363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A7954CEA-DAD3-4DF3-B534-28ADFFF5754D}" type="datetime'''''''''''''''''2''''''''''''5''''''''''''%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5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noProof="0" dirty="0">
                <a:solidFill>
                  <a:prstClr val="black"/>
                </a:solidFill>
                <a:latin typeface="Calibri Light" panose="020F0302020204030204"/>
              </a:rPr>
              <a:t>345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65" name="Chart 64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02693985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68638" y="2135189"/>
            <a:ext cx="306388" cy="24447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BA01F2B-AC84-412C-BD60-4BEF7D8BA118}" type="datetime'''''''''''1''''''''''''''''''''''''''''''''''''''''''''%'''">
              <a:rPr lang="en-US" altLang="en-US" sz="160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6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85699" y="1219741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>
            <p:custDataLst>
              <p:tags r:id="rId10"/>
            </p:custDataLst>
          </p:nvPr>
        </p:nvSpPr>
        <p:spPr bwMode="auto">
          <a:xfrm>
            <a:off x="8167688" y="5429250"/>
            <a:ext cx="250825" cy="187325"/>
          </a:xfrm>
          <a:prstGeom prst="rect">
            <a:avLst/>
          </a:prstGeom>
          <a:solidFill>
            <a:srgbClr val="C30C3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>
            <p:custDataLst>
              <p:tags r:id="rId11"/>
            </p:custDataLst>
          </p:nvPr>
        </p:nvSpPr>
        <p:spPr bwMode="auto">
          <a:xfrm>
            <a:off x="8167688" y="5175250"/>
            <a:ext cx="250825" cy="187325"/>
          </a:xfrm>
          <a:prstGeom prst="rect">
            <a:avLst/>
          </a:prstGeom>
          <a:solidFill>
            <a:srgbClr val="13C80F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 bwMode="auto">
          <a:xfrm>
            <a:off x="8167688" y="5683250"/>
            <a:ext cx="250825" cy="187325"/>
          </a:xfrm>
          <a:prstGeom prst="rect">
            <a:avLst/>
          </a:prstGeom>
          <a:solidFill>
            <a:srgbClr val="969696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69313" y="5694363"/>
            <a:ext cx="12493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3A4ECF-CF2D-4ECB-8C59-4A7CBB60CD72}" type="datetime'''''D''e''c''l''''''''''''''i''n''e''''''''''d''/no da''ta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lined/no data</a:t>
            </a:fld>
            <a:endParaRPr lang="en-US" sz="1400" dirty="0"/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804275" y="5186363"/>
            <a:ext cx="5778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A63BC2-EAEE-4F16-BA4D-CE149F2D37C9}" type="datetime'''''''''''N''''''''''''o''''''''''''''r''''m''''''al 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rmal </a:t>
            </a:fld>
            <a:endParaRPr lang="en-US" sz="1400" dirty="0"/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909050" y="5440363"/>
            <a:ext cx="3698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D37DB8-5879-4A97-8F0F-6A431612B217}" type="datetime'H''''''''''''''''''igh'''''''''''''''''''''''' ''''''''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igh 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5735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9197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987972" y="318319"/>
            <a:ext cx="10147167" cy="112471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HDL Results Women (Healthy Cholesterol)</a:t>
            </a:r>
            <a:endParaRPr lang="en-US" dirty="0"/>
          </a:p>
        </p:txBody>
      </p:sp>
      <p:graphicFrame>
        <p:nvGraphicFramePr>
          <p:cNvPr id="48" name="Chart 47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84283"/>
              </p:ext>
            </p:extLst>
          </p:nvPr>
        </p:nvGraphicFramePr>
        <p:xfrm>
          <a:off x="905351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51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748963" y="4229100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E2BBC08E-2144-45D0-BAAE-AD94957296A9}" type="datetime'''6''8''''''''''''''''''''''''''''''''%''''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68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291638" y="3305175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DF8FB5AB-4C4D-4307-9D57-0D0B8830A21A}" type="datetime'''''''''''3''2''''''''''''''''%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32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186 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Calibri Light" panose="020F0302020204030204"/>
              </a:rPr>
              <a:t>174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43" name="Chart 42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82739625"/>
              </p:ext>
            </p:extLst>
          </p:nvPr>
        </p:nvGraphicFramePr>
        <p:xfrm>
          <a:off x="631666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8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932738" y="4338638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1509DE2C-4666-4379-AB88-9642EAE19BE5}" type="datetime'''''7''''''''''''''''''''''''''''''''3''''''%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73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634163" y="3195638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099326AE-668D-4E7E-8924-96BD7B8AD16F}" type="datetime'''''''''''''''''2''''''7''''''''''''%''''''''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7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1" name="Rectangle 40"/>
          <p:cNvSpPr/>
          <p:nvPr>
            <p:custDataLst>
              <p:tags r:id="rId8"/>
            </p:custDataLst>
          </p:nvPr>
        </p:nvSpPr>
        <p:spPr bwMode="auto">
          <a:xfrm>
            <a:off x="8224838" y="5337175"/>
            <a:ext cx="214313" cy="160338"/>
          </a:xfrm>
          <a:prstGeom prst="rect">
            <a:avLst/>
          </a:prstGeom>
          <a:solidFill>
            <a:srgbClr val="13C80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auto">
          <a:xfrm>
            <a:off x="8224838" y="5570538"/>
            <a:ext cx="214313" cy="160338"/>
          </a:xfrm>
          <a:prstGeom prst="rect">
            <a:avLst/>
          </a:prstGeom>
          <a:solidFill>
            <a:srgbClr val="C30C3E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489950" y="5332413"/>
            <a:ext cx="7699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D9C97C31-685B-4F13-B1FF-E2D8C47755E6}" type="datetime'''No''rm''''al'':'''''''''''' ''''''''''&gt;''4''''''9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Normal: &gt;4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575675" y="5565775"/>
            <a:ext cx="596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E825AD0F-2E28-46CD-A004-5D8B7EECDC98}" type="datetime'''Lo''w'''''''''''':''''''  ''''≤''''''''''''4''''''''''''''9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Low:  ≤4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193 Total Participants </a:t>
            </a:r>
          </a:p>
        </p:txBody>
      </p:sp>
      <p:graphicFrame>
        <p:nvGraphicFramePr>
          <p:cNvPr id="46" name="Chart 45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84977108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75760" y="1360487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343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762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9"/>
            <a:ext cx="10058400" cy="83184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HDL Results Male (Healthy Cholesterol)</a:t>
            </a:r>
            <a:endParaRPr lang="en-US" dirty="0"/>
          </a:p>
        </p:txBody>
      </p:sp>
      <p:graphicFrame>
        <p:nvGraphicFramePr>
          <p:cNvPr id="44" name="Chart 4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18040"/>
              </p:ext>
            </p:extLst>
          </p:nvPr>
        </p:nvGraphicFramePr>
        <p:xfrm>
          <a:off x="905351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52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837863" y="3473450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180D4A47-D4A8-44DF-AE59-9FB20A654EEE}" type="datetime'''''''''''''3''''''''9%''''''''''''''''''''''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39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202738" y="4060825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32B820AC-8FB6-45EF-B4B0-9B327E56241D}" type="datetime'''''6''''1''%''''''''''''''''''''''''''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61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142 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133 Total Participants </a:t>
            </a:r>
          </a:p>
        </p:txBody>
      </p:sp>
      <p:graphicFrame>
        <p:nvGraphicFramePr>
          <p:cNvPr id="38" name="Chart 37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0786007"/>
              </p:ext>
            </p:extLst>
          </p:nvPr>
        </p:nvGraphicFramePr>
        <p:xfrm>
          <a:off x="631666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8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966075" y="4295775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8701AD1F-644B-4E44-8375-B40A19D3E5A3}" type="datetime'''''7''''''''''''''''''''''''''1''''''''''''''''''''''%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71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9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600825" y="3238500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8748A3E7-BFED-4FA8-B75E-E815022B6C0E}" type="datetime'''''''''''''''''''2''''''''''''''9''''''%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9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1" name="Rectangle 10"/>
          <p:cNvSpPr/>
          <p:nvPr>
            <p:custDataLst>
              <p:tags r:id="rId8"/>
            </p:custDataLst>
          </p:nvPr>
        </p:nvSpPr>
        <p:spPr bwMode="auto">
          <a:xfrm>
            <a:off x="8224838" y="5337175"/>
            <a:ext cx="214312" cy="160338"/>
          </a:xfrm>
          <a:prstGeom prst="rect">
            <a:avLst/>
          </a:prstGeom>
          <a:solidFill>
            <a:srgbClr val="13C80F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auto">
          <a:xfrm>
            <a:off x="8224838" y="5570538"/>
            <a:ext cx="214313" cy="160338"/>
          </a:xfrm>
          <a:prstGeom prst="rect">
            <a:avLst/>
          </a:prstGeom>
          <a:solidFill>
            <a:srgbClr val="C30C3E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489950" y="5332413"/>
            <a:ext cx="7699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C460D84E-83E3-4396-90BF-ED8D2190F9F8}" type="datetime'''N''''''''or''''''''ma''''''l'':'''''''' &gt;''''''3''''''''9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Normal: &gt;3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575675" y="5565775"/>
            <a:ext cx="596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E756A0D4-47C8-439C-8661-771B5CF409B2}" type="datetime'''''Low'''''''''':''''''  ''''''''≤3''''''''9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Low:  ≤3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Calibri Light" panose="020F0302020204030204"/>
              </a:rPr>
              <a:t>154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40" name="Chart 39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357957279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85699" y="1219741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1395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946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9"/>
            <a:ext cx="10058400" cy="83184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Triglycerides Results</a:t>
            </a:r>
            <a:endParaRPr lang="en-US" dirty="0"/>
          </a:p>
        </p:txBody>
      </p:sp>
      <p:graphicFrame>
        <p:nvGraphicFramePr>
          <p:cNvPr id="43" name="Chart 42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307728"/>
              </p:ext>
            </p:extLst>
          </p:nvPr>
        </p:nvGraphicFramePr>
        <p:xfrm>
          <a:off x="905351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51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718800" y="4275138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A76FEC35-A962-4DB1-A721-08C562E3D025}" type="datetime'''''''''''''''''''''''''''7''0''''''''''''''''%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70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321800" y="3259138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6764B41E-8573-427F-B9A2-6EB8692130D6}" type="datetime'3''''0''''''''''''''''''''%''''''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30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328 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Calibri Light" panose="020F0302020204030204"/>
              </a:rPr>
              <a:t>307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38" name="Chart 37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48819229"/>
              </p:ext>
            </p:extLst>
          </p:nvPr>
        </p:nvGraphicFramePr>
        <p:xfrm>
          <a:off x="631666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8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932738" y="4338638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AB61B5BE-8ED4-4110-9AC5-E558E57703BE}" type="datetime'''''''''''7''''''''''''''''''''''''3''%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73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634163" y="3195638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8A5A3606-AFD1-4771-9C8F-D73473A6D7EB}" type="datetime'''''''''''''''''''''''''''''2''''''7''%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7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1" name="Rectangle 40"/>
          <p:cNvSpPr/>
          <p:nvPr>
            <p:custDataLst>
              <p:tags r:id="rId8"/>
            </p:custDataLst>
          </p:nvPr>
        </p:nvSpPr>
        <p:spPr bwMode="auto">
          <a:xfrm>
            <a:off x="8224838" y="5337175"/>
            <a:ext cx="214313" cy="160338"/>
          </a:xfrm>
          <a:prstGeom prst="rect">
            <a:avLst/>
          </a:prstGeom>
          <a:solidFill>
            <a:srgbClr val="13C80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>
            <p:custDataLst>
              <p:tags r:id="rId9"/>
            </p:custDataLst>
          </p:nvPr>
        </p:nvSpPr>
        <p:spPr bwMode="auto">
          <a:xfrm>
            <a:off x="8224838" y="5570538"/>
            <a:ext cx="214313" cy="160338"/>
          </a:xfrm>
          <a:prstGeom prst="rect">
            <a:avLst/>
          </a:prstGeom>
          <a:solidFill>
            <a:srgbClr val="C30C3E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521700" y="5332413"/>
            <a:ext cx="882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7B6FEB83-8AF3-4684-B747-B8122B304FC6}" type="datetime'''''No''r''''''''''''''''''''ma''''l: ''''''''≤ ''''1''50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Normal: ≤ 1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89950" y="5565775"/>
            <a:ext cx="9477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CAFFF5F2-569E-4B7A-B319-19BE5A0E2079}" type="datetime'''El''''e''v''a''''''t''''''''''''e''d'':'''' ≥'' 15''''0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Elevated: ≥ 1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345 Total Participants </a:t>
            </a:r>
          </a:p>
        </p:txBody>
      </p:sp>
      <p:graphicFrame>
        <p:nvGraphicFramePr>
          <p:cNvPr id="40" name="Chart 39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75627581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85699" y="1219741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795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702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882869" y="318318"/>
            <a:ext cx="10252270" cy="1205681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PSA Result Men </a:t>
            </a:r>
            <a:r>
              <a:rPr lang="en-US" dirty="0"/>
              <a:t>&gt; 40-Prostate Specific Antigen Test</a:t>
            </a:r>
          </a:p>
        </p:txBody>
      </p:sp>
      <p:graphicFrame>
        <p:nvGraphicFramePr>
          <p:cNvPr id="40" name="Chart 39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367763"/>
              </p:ext>
            </p:extLst>
          </p:nvPr>
        </p:nvGraphicFramePr>
        <p:xfrm>
          <a:off x="8893175" y="2717800"/>
          <a:ext cx="2665413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120 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112 Total Participants </a:t>
            </a:r>
          </a:p>
        </p:txBody>
      </p:sp>
      <p:graphicFrame>
        <p:nvGraphicFramePr>
          <p:cNvPr id="37" name="Chart 36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84124021"/>
              </p:ext>
            </p:extLst>
          </p:nvPr>
        </p:nvGraphicFramePr>
        <p:xfrm>
          <a:off x="6156325" y="2717800"/>
          <a:ext cx="2665413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1" name="Rectangle 40"/>
          <p:cNvSpPr/>
          <p:nvPr>
            <p:custDataLst>
              <p:tags r:id="rId4"/>
            </p:custDataLst>
          </p:nvPr>
        </p:nvSpPr>
        <p:spPr bwMode="auto">
          <a:xfrm>
            <a:off x="8224838" y="5337175"/>
            <a:ext cx="214313" cy="160338"/>
          </a:xfrm>
          <a:prstGeom prst="rect">
            <a:avLst/>
          </a:prstGeom>
          <a:solidFill>
            <a:srgbClr val="13C80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>
            <p:custDataLst>
              <p:tags r:id="rId5"/>
            </p:custDataLst>
          </p:nvPr>
        </p:nvSpPr>
        <p:spPr bwMode="auto">
          <a:xfrm>
            <a:off x="8224838" y="5570538"/>
            <a:ext cx="214313" cy="160338"/>
          </a:xfrm>
          <a:prstGeom prst="rect">
            <a:avLst/>
          </a:prstGeom>
          <a:solidFill>
            <a:srgbClr val="C30C3E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523288" y="5332413"/>
            <a:ext cx="808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CE81953F-C556-4DCF-9100-D60B634BC7D3}" type="datetime'''''No''rma''''''l'''''':'''' ''''''''''''''''''''''''≤4.5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Normal: ≤4.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489950" y="5565775"/>
            <a:ext cx="873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271422C8-F2D3-4296-A707-0B4B4CFB44B7}" type="datetime'''E''''''''l''''''e''''''''''''''va''te''''d:'' &gt;''4.''5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Elevated: &gt;4.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127 Total Participants </a:t>
            </a:r>
          </a:p>
        </p:txBody>
      </p:sp>
      <p:graphicFrame>
        <p:nvGraphicFramePr>
          <p:cNvPr id="38" name="Chart 37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59336390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75760" y="1363526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196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5874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8"/>
            <a:ext cx="10058400" cy="1205681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TSH Results – Women Thyroid Stimulating Hormone </a:t>
            </a:r>
            <a:endParaRPr lang="en-US" dirty="0"/>
          </a:p>
        </p:txBody>
      </p:sp>
      <p:graphicFrame>
        <p:nvGraphicFramePr>
          <p:cNvPr id="43" name="Chart 42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998808"/>
              </p:ext>
            </p:extLst>
          </p:nvPr>
        </p:nvGraphicFramePr>
        <p:xfrm>
          <a:off x="8893175" y="2717800"/>
          <a:ext cx="2665413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3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540875" y="3033713"/>
            <a:ext cx="306388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3D70A600-1838-459B-834B-76FDA3448D23}" type="datetime'''''''''''2''''''%''''''''''''''''''''''''''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186 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174 Total Participants </a:t>
            </a:r>
          </a:p>
        </p:txBody>
      </p:sp>
      <p:graphicFrame>
        <p:nvGraphicFramePr>
          <p:cNvPr id="34" name="Chart 3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46084189"/>
              </p:ext>
            </p:extLst>
          </p:nvPr>
        </p:nvGraphicFramePr>
        <p:xfrm>
          <a:off x="6156325" y="2717800"/>
          <a:ext cx="2665413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897688" y="2970213"/>
            <a:ext cx="306388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3B4F4769-95AD-4C05-AD2D-CA848897F318}" type="datetime'2''''''''''''''''''''''''''''''''''''''''''''''''%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175500" y="3049588"/>
            <a:ext cx="306388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68DEAAD0-B97E-4976-9D91-E07466782E0F}" type="datetime'''''''''''''''''''''''''''''''''''''7''''''''''%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7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1" name="Rectangle 40"/>
          <p:cNvSpPr/>
          <p:nvPr>
            <p:custDataLst>
              <p:tags r:id="rId7"/>
            </p:custDataLst>
          </p:nvPr>
        </p:nvSpPr>
        <p:spPr bwMode="auto">
          <a:xfrm>
            <a:off x="8224838" y="5337175"/>
            <a:ext cx="214313" cy="160338"/>
          </a:xfrm>
          <a:prstGeom prst="rect">
            <a:avLst/>
          </a:prstGeom>
          <a:solidFill>
            <a:srgbClr val="13C80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>
            <p:custDataLst>
              <p:tags r:id="rId8"/>
            </p:custDataLst>
          </p:nvPr>
        </p:nvSpPr>
        <p:spPr bwMode="auto">
          <a:xfrm>
            <a:off x="8224838" y="5570538"/>
            <a:ext cx="214313" cy="160338"/>
          </a:xfrm>
          <a:prstGeom prst="rect">
            <a:avLst/>
          </a:prstGeom>
          <a:solidFill>
            <a:schemeClr val="accent6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 bwMode="auto">
          <a:xfrm>
            <a:off x="8224838" y="5803900"/>
            <a:ext cx="214312" cy="160338"/>
          </a:xfrm>
          <a:prstGeom prst="rect">
            <a:avLst/>
          </a:prstGeom>
          <a:solidFill>
            <a:srgbClr val="C30C3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620125" y="5332413"/>
            <a:ext cx="11493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D25EB3C5-BDB6-4716-BA25-99DDFB9976B7}" type="datetime'N''''''or''''''m''''''''''''a''l'': 0.5''''1 ''''–'' ''5.1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Normal: 0.51 – 5.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89950" y="5565775"/>
            <a:ext cx="14112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B559312F-FA74-4371-9FD4-0D5D52E152A8}" type="datetime'Hy''p''''''e''rt''''''''h''yr''''oi''d''''''is''''''m: &lt; 0.5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Hyperthyroidism: &lt; 0.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531224" y="5799138"/>
            <a:ext cx="13287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05A90CE8-E4DE-4DA4-ABF3-5BE57E8C2C6E}" type="datetime'H''''ypot''hyroid''''''''''''''''''''''''ism'''': &gt;5.1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Hypothyroidism: &gt;5.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Calibri Light" panose="020F0302020204030204"/>
              </a:rPr>
              <a:t>188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28" name="Chart 27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06881408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75760" y="1471990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217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183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ight Arrow 19"/>
          <p:cNvSpPr/>
          <p:nvPr/>
        </p:nvSpPr>
        <p:spPr>
          <a:xfrm>
            <a:off x="6186949" y="3268658"/>
            <a:ext cx="1053515" cy="490290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99787" y="2174975"/>
            <a:ext cx="22860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3600" b="1" dirty="0">
                <a:solidFill>
                  <a:prstClr val="black"/>
                </a:solidFill>
                <a:latin typeface="+mj-lt"/>
                <a:cs typeface="Times New Roman"/>
              </a:rPr>
              <a:t>Lowest Risk </a:t>
            </a:r>
          </a:p>
          <a:p>
            <a:pPr algn="ctr" defTabSz="457200"/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– </a:t>
            </a:r>
          </a:p>
          <a:p>
            <a:pPr algn="ctr" defTabSz="457200"/>
            <a:r>
              <a:rPr lang="en-US" sz="3200" b="1" dirty="0">
                <a:solidFill>
                  <a:prstClr val="black"/>
                </a:solidFill>
                <a:latin typeface="+mj-lt"/>
                <a:cs typeface="Times New Roman"/>
              </a:rPr>
              <a:t>No</a:t>
            </a:r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 levels elevated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101348" y="1723103"/>
            <a:ext cx="4495800" cy="35814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MI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less than 25 kg/m</a:t>
            </a:r>
            <a:r>
              <a:rPr lang="en-US" sz="2400" baseline="30000" dirty="0">
                <a:solidFill>
                  <a:prstClr val="black"/>
                </a:solidFill>
                <a:cs typeface="Times New Roman"/>
              </a:rPr>
              <a:t>2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 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Cholesterol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Less than 200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pressure: </a:t>
            </a:r>
            <a:r>
              <a:rPr lang="en-US" sz="2400" u="sng" dirty="0">
                <a:solidFill>
                  <a:prstClr val="black"/>
                </a:solidFill>
                <a:cs typeface="Times New Roman"/>
              </a:rPr>
              <a:t>&lt;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120/80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glucose: </a:t>
            </a:r>
            <a:r>
              <a:rPr lang="en-US" sz="2400" u="sng" dirty="0">
                <a:solidFill>
                  <a:prstClr val="black"/>
                </a:solidFill>
                <a:cs typeface="Times New Roman"/>
              </a:rPr>
              <a:t>&lt;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100, with </a:t>
            </a:r>
            <a:r>
              <a:rPr lang="en-US" sz="2400" b="1" dirty="0">
                <a:solidFill>
                  <a:prstClr val="black"/>
                </a:solidFill>
                <a:cs typeface="Times New Roman"/>
              </a:rPr>
              <a:t>A1C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 less than 5.6%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4000" dirty="0"/>
              <a:t>Group Risk Categ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704634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ight Arrow 19"/>
          <p:cNvSpPr/>
          <p:nvPr/>
        </p:nvSpPr>
        <p:spPr>
          <a:xfrm>
            <a:off x="5911653" y="3268658"/>
            <a:ext cx="1053515" cy="490290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99787" y="2174975"/>
            <a:ext cx="22860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3600" b="1" dirty="0">
                <a:solidFill>
                  <a:prstClr val="black"/>
                </a:solidFill>
                <a:latin typeface="+mj-lt"/>
                <a:cs typeface="Times New Roman"/>
              </a:rPr>
              <a:t>Low Risk </a:t>
            </a:r>
          </a:p>
          <a:p>
            <a:pPr algn="ctr" defTabSz="457200"/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– </a:t>
            </a:r>
          </a:p>
          <a:p>
            <a:pPr algn="ctr" defTabSz="457200"/>
            <a:r>
              <a:rPr lang="en-US" sz="3200" b="1" dirty="0">
                <a:solidFill>
                  <a:prstClr val="black"/>
                </a:solidFill>
                <a:latin typeface="+mj-lt"/>
                <a:cs typeface="Times New Roman"/>
              </a:rPr>
              <a:t>1 </a:t>
            </a:r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level elevated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39228" y="1723103"/>
            <a:ext cx="5346291" cy="35814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MI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greater than 25 kg/m</a:t>
            </a:r>
            <a:r>
              <a:rPr lang="en-US" sz="2400" baseline="30000" dirty="0">
                <a:solidFill>
                  <a:prstClr val="black"/>
                </a:solidFill>
                <a:cs typeface="Times New Roman"/>
              </a:rPr>
              <a:t>2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 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Cholesterol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Any abnormal level, including lower HDL levels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pressure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any pressure above 120/80 up to 139/89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glucose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any level above 100, with</a:t>
            </a:r>
            <a:r>
              <a:rPr lang="en-US" sz="2400" b="1" dirty="0">
                <a:solidFill>
                  <a:prstClr val="black"/>
                </a:solidFill>
                <a:cs typeface="Times New Roman"/>
              </a:rPr>
              <a:t> A1C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greater than 5.7% up to 6.4% (pre-diabetic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4000" dirty="0"/>
              <a:t>Group Risk Categ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711610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ight Arrow 19"/>
          <p:cNvSpPr/>
          <p:nvPr/>
        </p:nvSpPr>
        <p:spPr>
          <a:xfrm>
            <a:off x="5911653" y="3268658"/>
            <a:ext cx="1053515" cy="490290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99787" y="2174975"/>
            <a:ext cx="263554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3600" b="1" dirty="0">
                <a:solidFill>
                  <a:prstClr val="black"/>
                </a:solidFill>
                <a:latin typeface="+mj-lt"/>
                <a:cs typeface="Times New Roman"/>
              </a:rPr>
              <a:t>Moderate Risk</a:t>
            </a:r>
          </a:p>
          <a:p>
            <a:pPr algn="ctr" defTabSz="457200"/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– </a:t>
            </a:r>
          </a:p>
          <a:p>
            <a:pPr algn="ctr" defTabSz="457200"/>
            <a:r>
              <a:rPr lang="en-US" sz="3200" b="1" dirty="0">
                <a:solidFill>
                  <a:prstClr val="black"/>
                </a:solidFill>
                <a:latin typeface="+mj-lt"/>
                <a:cs typeface="Times New Roman"/>
              </a:rPr>
              <a:t>2 </a:t>
            </a:r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levels elevated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39228" y="1723103"/>
            <a:ext cx="5346291" cy="35814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MI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greater than 25 kg/m</a:t>
            </a:r>
            <a:r>
              <a:rPr lang="en-US" sz="2400" baseline="30000" dirty="0">
                <a:solidFill>
                  <a:prstClr val="black"/>
                </a:solidFill>
                <a:cs typeface="Times New Roman"/>
              </a:rPr>
              <a:t>2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 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Cholesterol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Any abnormal level, including lower HDL levels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pressure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any pressure above 120/80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glucose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any level above 100, with </a:t>
            </a:r>
            <a:r>
              <a:rPr lang="en-US" sz="2400" b="1" dirty="0">
                <a:solidFill>
                  <a:prstClr val="black"/>
                </a:solidFill>
                <a:cs typeface="Times New Roman"/>
              </a:rPr>
              <a:t>A1C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 greater than 5.7% up to 6.4% (pre-diabetic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4000" dirty="0"/>
              <a:t>Group Risk Categ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833952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ight Arrow 19"/>
          <p:cNvSpPr/>
          <p:nvPr/>
        </p:nvSpPr>
        <p:spPr>
          <a:xfrm>
            <a:off x="5911653" y="3268658"/>
            <a:ext cx="1053515" cy="490290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99787" y="2174975"/>
            <a:ext cx="263554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3600" b="1" dirty="0">
                <a:solidFill>
                  <a:prstClr val="black"/>
                </a:solidFill>
                <a:latin typeface="+mj-lt"/>
                <a:cs typeface="Times New Roman"/>
              </a:rPr>
              <a:t>High Risk</a:t>
            </a:r>
          </a:p>
          <a:p>
            <a:pPr algn="ctr" defTabSz="457200"/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– </a:t>
            </a:r>
          </a:p>
          <a:p>
            <a:pPr algn="ctr" defTabSz="457200"/>
            <a:r>
              <a:rPr lang="en-US" sz="3200" b="1" dirty="0">
                <a:solidFill>
                  <a:prstClr val="black"/>
                </a:solidFill>
                <a:latin typeface="+mj-lt"/>
                <a:cs typeface="Times New Roman"/>
              </a:rPr>
              <a:t>3 </a:t>
            </a:r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levels elevated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39228" y="1723103"/>
            <a:ext cx="5346291" cy="35814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MI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: 30 – 35 kg/m</a:t>
            </a:r>
            <a:r>
              <a:rPr lang="en-US" sz="2400" baseline="30000" dirty="0">
                <a:solidFill>
                  <a:prstClr val="black"/>
                </a:solidFill>
                <a:cs typeface="Times New Roman"/>
              </a:rPr>
              <a:t>2,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 Class 1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Cholesterol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200 – 239, or ratio greater than 5.0 – 5.4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Pressure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above 120/80 up to 139/89 (prehypertension)</a:t>
            </a:r>
          </a:p>
          <a:p>
            <a:pPr marL="914400" lvl="1" indent="-45720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glucose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: between 100 – 124, with </a:t>
            </a:r>
            <a:r>
              <a:rPr lang="en-US" sz="2400" b="1" dirty="0">
                <a:solidFill>
                  <a:prstClr val="black"/>
                </a:solidFill>
                <a:cs typeface="Times New Roman"/>
              </a:rPr>
              <a:t>A1C 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greater than 5.7% up to 6.4% (pre-diabetic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4000" dirty="0"/>
              <a:t>Group Risk Categ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9682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1562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/>
              <a:t>Wellness Assessment Results</a:t>
            </a:r>
            <a:br>
              <a:rPr lang="en-US" b="1" dirty="0"/>
            </a:br>
            <a:br>
              <a:rPr lang="en-US" dirty="0"/>
            </a:br>
            <a:r>
              <a:rPr lang="en-US" dirty="0"/>
              <a:t> </a:t>
            </a: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252919" y="3972234"/>
            <a:ext cx="2723535" cy="15854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itchFamily="18" charset="2"/>
              <a:buNone/>
            </a:pPr>
            <a:r>
              <a:rPr lang="en-US" dirty="0">
                <a:solidFill>
                  <a:schemeClr val="tx1"/>
                </a:solidFill>
                <a:cs typeface="Times New Roman"/>
              </a:rPr>
              <a:t>August 15</a:t>
            </a:r>
            <a:r>
              <a:rPr lang="en-US" baseline="30000" dirty="0">
                <a:solidFill>
                  <a:schemeClr val="tx1"/>
                </a:solidFill>
                <a:cs typeface="Times New Roman"/>
              </a:rPr>
              <a:t>th</a:t>
            </a:r>
            <a:r>
              <a:rPr lang="en-US" dirty="0">
                <a:solidFill>
                  <a:schemeClr val="tx1"/>
                </a:solidFill>
                <a:cs typeface="Times New Roman"/>
              </a:rPr>
              <a:t> 2023</a:t>
            </a:r>
          </a:p>
          <a:p>
            <a:pPr marL="0" indent="0">
              <a:buFont typeface="Wingdings 2" pitchFamily="18" charset="2"/>
              <a:buNone/>
            </a:pPr>
            <a:r>
              <a:rPr lang="en-US" dirty="0">
                <a:solidFill>
                  <a:schemeClr val="tx1"/>
                </a:solidFill>
                <a:cs typeface="Times New Roman"/>
              </a:rPr>
              <a:t>Make-up Date :     August 29</a:t>
            </a:r>
            <a:r>
              <a:rPr lang="en-US" baseline="30000" dirty="0">
                <a:solidFill>
                  <a:schemeClr val="tx1"/>
                </a:solidFill>
                <a:cs typeface="Times New Roman"/>
              </a:rPr>
              <a:t>th</a:t>
            </a:r>
            <a:r>
              <a:rPr lang="en-US" dirty="0">
                <a:solidFill>
                  <a:schemeClr val="tx1"/>
                </a:solidFill>
                <a:cs typeface="Times New Roman"/>
              </a:rPr>
              <a:t> 2023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4" name="Picture 13" descr="wellness assessment booth layout 8:4:20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1406" y="766916"/>
            <a:ext cx="6836986" cy="3293806"/>
          </a:xfrm>
          <a:prstGeom prst="rect">
            <a:avLst/>
          </a:prstGeom>
        </p:spPr>
      </p:pic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323143"/>
              </p:ext>
            </p:extLst>
          </p:nvPr>
        </p:nvGraphicFramePr>
        <p:xfrm>
          <a:off x="4411406" y="4016674"/>
          <a:ext cx="6836987" cy="208915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18821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16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16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51621">
                  <a:extLst>
                    <a:ext uri="{9D8B030D-6E8A-4147-A177-3AD203B41FA5}">
                      <a16:colId xmlns:a16="http://schemas.microsoft.com/office/drawing/2014/main" val="3778714478"/>
                    </a:ext>
                  </a:extLst>
                </a:gridCol>
              </a:tblGrid>
              <a:tr h="427926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2800" b="1" u="none" strike="noStrike" dirty="0">
                          <a:effectLst/>
                        </a:rPr>
                        <a:t>2021</a:t>
                      </a:r>
                      <a:endParaRPr lang="is-IS" sz="2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  <a:cs typeface="Times New Roman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1" u="none" strike="noStrike" dirty="0">
                          <a:effectLst/>
                        </a:rPr>
                        <a:t>2022</a:t>
                      </a:r>
                      <a:endParaRPr lang="en-US" sz="2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  <a:cs typeface="Times New Roman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/>
                        </a:rPr>
                        <a:t>2023</a:t>
                      </a:r>
                    </a:p>
                  </a:txBody>
                  <a:tcPr marL="12700" marR="12700" marT="12700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6023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  <a:latin typeface="+mn-lt"/>
                          <a:cs typeface="Times New Roman"/>
                        </a:rPr>
                        <a:t>Number of Employees: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Times New Roman"/>
                        </a:rPr>
                        <a:t>23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2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Times New Roman"/>
                        </a:rPr>
                        <a:t>260</a:t>
                      </a:r>
                      <a:endParaRPr lang="is-IS" sz="2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/>
                        </a:rPr>
                        <a:t>247</a:t>
                      </a: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6023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  <a:latin typeface="+mn-lt"/>
                          <a:cs typeface="Times New Roman"/>
                        </a:rPr>
                        <a:t>Number of Spouses: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Times New Roman"/>
                        </a:rPr>
                        <a:t>7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/>
                        </a:rPr>
                        <a:t>88</a:t>
                      </a: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/>
                        </a:rPr>
                        <a:t>81</a:t>
                      </a: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5138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 dirty="0">
                          <a:effectLst/>
                          <a:latin typeface="+mn-lt"/>
                          <a:cs typeface="Times New Roman"/>
                        </a:rPr>
                        <a:t>Total: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20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Times New Roman"/>
                        </a:rPr>
                        <a:t>307</a:t>
                      </a:r>
                      <a:endParaRPr lang="is-IS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200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Times New Roman"/>
                        </a:rPr>
                        <a:t>348</a:t>
                      </a:r>
                      <a:endParaRPr lang="is-IS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/>
                      </a:endParaRPr>
                    </a:p>
                  </a:txBody>
                  <a:tcPr marL="12700" marR="12700" marT="1270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/>
                        </a:rPr>
                        <a:t>328</a:t>
                      </a:r>
                    </a:p>
                  </a:txBody>
                  <a:tcPr marL="12700" marR="12700" marT="1270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309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ight Arrow 19"/>
          <p:cNvSpPr/>
          <p:nvPr/>
        </p:nvSpPr>
        <p:spPr>
          <a:xfrm>
            <a:off x="5911653" y="3268658"/>
            <a:ext cx="1053515" cy="490290"/>
          </a:xfrm>
          <a:prstGeom prst="rightArrow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99787" y="2174975"/>
            <a:ext cx="263554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3600" b="1" dirty="0">
                <a:solidFill>
                  <a:prstClr val="black"/>
                </a:solidFill>
                <a:latin typeface="+mj-lt"/>
                <a:cs typeface="Times New Roman"/>
              </a:rPr>
              <a:t>Highest Risk</a:t>
            </a:r>
          </a:p>
          <a:p>
            <a:pPr algn="ctr" defTabSz="457200"/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– </a:t>
            </a:r>
          </a:p>
          <a:p>
            <a:pPr algn="ctr" defTabSz="457200"/>
            <a:r>
              <a:rPr lang="en-US" sz="3200" b="1" dirty="0">
                <a:solidFill>
                  <a:prstClr val="black"/>
                </a:solidFill>
                <a:latin typeface="+mj-lt"/>
                <a:cs typeface="Times New Roman"/>
              </a:rPr>
              <a:t>All 4 </a:t>
            </a:r>
            <a:r>
              <a:rPr lang="en-US" sz="3200" dirty="0">
                <a:solidFill>
                  <a:prstClr val="black"/>
                </a:solidFill>
                <a:latin typeface="+mj-lt"/>
                <a:cs typeface="Times New Roman"/>
              </a:rPr>
              <a:t>levels elevated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39228" y="1723103"/>
            <a:ext cx="5346291" cy="35814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742950" lvl="1" indent="-28575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MI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35 kg/m</a:t>
            </a:r>
            <a:r>
              <a:rPr lang="en-US" sz="2400" baseline="30000" dirty="0">
                <a:solidFill>
                  <a:prstClr val="black"/>
                </a:solidFill>
                <a:cs typeface="Times New Roman"/>
              </a:rPr>
              <a:t>2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 or higher, Class II and III</a:t>
            </a:r>
          </a:p>
          <a:p>
            <a:pPr marL="742950" lvl="1" indent="-28575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Cholesterol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240 total or higher, or ratio greater than 5.5</a:t>
            </a:r>
          </a:p>
          <a:p>
            <a:pPr marL="742950" lvl="1" indent="-28575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pressure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140/90 and greater (hypertensive)</a:t>
            </a:r>
          </a:p>
          <a:p>
            <a:pPr marL="742950" lvl="1" indent="-285750" defTabSz="457200">
              <a:buFont typeface="Arial"/>
              <a:buChar char="•"/>
            </a:pPr>
            <a:r>
              <a:rPr lang="en-US" sz="2400" b="1" dirty="0">
                <a:solidFill>
                  <a:prstClr val="black"/>
                </a:solidFill>
                <a:cs typeface="Times New Roman"/>
              </a:rPr>
              <a:t>Blood glucose: 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greater than 125, with </a:t>
            </a:r>
            <a:r>
              <a:rPr lang="en-US" sz="2400" b="1" dirty="0">
                <a:solidFill>
                  <a:prstClr val="black"/>
                </a:solidFill>
                <a:cs typeface="Times New Roman"/>
              </a:rPr>
              <a:t>A1C</a:t>
            </a:r>
            <a:r>
              <a:rPr lang="en-US" sz="2400" dirty="0">
                <a:solidFill>
                  <a:prstClr val="black"/>
                </a:solidFill>
                <a:cs typeface="Times New Roman"/>
              </a:rPr>
              <a:t>  &gt;6.4% (diabetic)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4000" dirty="0"/>
              <a:t>Group Risk Categ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594580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6784622"/>
              </p:ext>
            </p:extLst>
          </p:nvPr>
        </p:nvGraphicFramePr>
        <p:xfrm>
          <a:off x="0" y="0"/>
          <a:ext cx="12191999" cy="6857999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1799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75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124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94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89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133599">
                  <a:extLst>
                    <a:ext uri="{9D8B030D-6E8A-4147-A177-3AD203B41FA5}">
                      <a16:colId xmlns:a16="http://schemas.microsoft.com/office/drawing/2014/main" val="607588112"/>
                    </a:ext>
                  </a:extLst>
                </a:gridCol>
              </a:tblGrid>
              <a:tr h="1535569">
                <a:tc>
                  <a:txBody>
                    <a:bodyPr/>
                    <a:lstStyle/>
                    <a:p>
                      <a:pPr algn="l" fontAlgn="ctr"/>
                      <a:endParaRPr lang="en-US" sz="2800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US" sz="2800" u="none" strike="noStrike" dirty="0">
                          <a:effectLst/>
                        </a:rPr>
                        <a:t>Risk Category</a:t>
                      </a:r>
                      <a:endParaRPr lang="en-US" sz="2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  <a:p>
                      <a:pPr algn="l" fontAlgn="ctr"/>
                      <a:endParaRPr lang="en-US" sz="280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2800" u="none" strike="noStrike" dirty="0">
                          <a:effectLst/>
                        </a:rPr>
                        <a:t>2017</a:t>
                      </a:r>
                    </a:p>
                    <a:p>
                      <a:pPr algn="ctr" fontAlgn="ctr"/>
                      <a:r>
                        <a:rPr lang="is-IS" sz="2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470 Total</a:t>
                      </a: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2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20</a:t>
                      </a:r>
                    </a:p>
                    <a:p>
                      <a:pPr algn="ctr" fontAlgn="ctr"/>
                      <a:r>
                        <a:rPr lang="is-IS" sz="2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58 Total</a:t>
                      </a: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>
                          <a:effectLst/>
                        </a:rPr>
                        <a:t>2021</a:t>
                      </a:r>
                    </a:p>
                    <a:p>
                      <a:pPr algn="ctr" fontAlgn="ctr"/>
                      <a:r>
                        <a:rPr lang="en-US" sz="2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07 Total</a:t>
                      </a: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2800" u="none" strike="noStrike" dirty="0">
                          <a:effectLst/>
                        </a:rPr>
                        <a:t>2022</a:t>
                      </a:r>
                    </a:p>
                    <a:p>
                      <a:pPr algn="ctr" fontAlgn="ctr"/>
                      <a:r>
                        <a:rPr lang="is-IS" sz="2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48 Total</a:t>
                      </a: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s-IS" sz="2800" u="none" strike="noStrike" dirty="0">
                          <a:effectLst/>
                        </a:rPr>
                        <a:t>2023</a:t>
                      </a:r>
                    </a:p>
                    <a:p>
                      <a:pPr algn="ctr" fontAlgn="ctr"/>
                      <a:r>
                        <a:rPr lang="is-IS" sz="2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28 Total</a:t>
                      </a:r>
                    </a:p>
                  </a:txBody>
                  <a:tcPr marL="9696" marR="9696" marT="9696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570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High (with 4 levels):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9.5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% 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8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%</a:t>
                      </a:r>
                    </a:p>
                  </a:txBody>
                  <a:tcPr marL="9696" marR="9696" marT="9696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399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High (with 3 levels):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22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4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18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%</a:t>
                      </a:r>
                      <a:endParaRPr lang="mr-IN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828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Moderate: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   23.5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4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    25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%</a:t>
                      </a:r>
                      <a:endParaRPr lang="mr-IN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434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Low: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22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0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    23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%</a:t>
                      </a:r>
                      <a:endParaRPr lang="mr-IN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68803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Lowest</a:t>
                      </a:r>
                      <a:r>
                        <a:rPr lang="en-US" sz="1800" u="none" strike="noStrike" baseline="0" dirty="0">
                          <a:effectLst/>
                          <a:latin typeface="+mn-lt"/>
                        </a:rPr>
                        <a:t> </a:t>
                      </a:r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: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23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0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    26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%</a:t>
                      </a:r>
                      <a:endParaRPr lang="mr-IN" sz="2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66469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Lowest &amp; Low Totals </a:t>
                      </a:r>
                    </a:p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(Goal of &gt;70%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   45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0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    49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42%</a:t>
                      </a:r>
                      <a:endParaRPr lang="mr-IN" sz="2000" b="1" i="0" u="none" strike="noStrike" dirty="0">
                        <a:solidFill>
                          <a:schemeClr val="accent6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67828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Highest &amp; High</a:t>
                      </a:r>
                    </a:p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(Goal of &lt;20%)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31.5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6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u="none" strike="noStrike" dirty="0">
                          <a:effectLst/>
                          <a:latin typeface="+mn-lt"/>
                        </a:rPr>
                        <a:t>    26%</a:t>
                      </a:r>
                      <a:endParaRPr lang="mr-IN" sz="1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27%</a:t>
                      </a:r>
                      <a:endParaRPr lang="mr-IN" sz="2000" b="1" i="0" u="none" strike="noStrike" dirty="0">
                        <a:solidFill>
                          <a:schemeClr val="accent6"/>
                        </a:solidFill>
                        <a:effectLst/>
                        <a:latin typeface="+mn-lt"/>
                      </a:endParaRPr>
                    </a:p>
                  </a:txBody>
                  <a:tcPr marL="9696" marR="9696" marT="9696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63128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3835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3119546" cy="4601183"/>
          </a:xfrm>
        </p:spPr>
        <p:txBody>
          <a:bodyPr vert="horz">
            <a:normAutofit/>
          </a:bodyPr>
          <a:lstStyle/>
          <a:p>
            <a:r>
              <a:rPr lang="en-US" dirty="0">
                <a:solidFill>
                  <a:schemeClr val="bg1"/>
                </a:solidFill>
                <a:cs typeface="Times New Roman"/>
              </a:rPr>
              <a:t>2023 Southern Adventist University was awarded AHA Gold Workplace Health Achievemen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8941" y="1310215"/>
            <a:ext cx="8142559" cy="42371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5604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73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cs typeface="Times New Roman"/>
              </a:rPr>
              <a:t>Questions &amp; Answers</a:t>
            </a:r>
            <a:br>
              <a:rPr lang="en-US" dirty="0">
                <a:latin typeface="Times New Roman"/>
                <a:cs typeface="Times New Roman"/>
              </a:rPr>
            </a:br>
            <a:br>
              <a:rPr lang="en-US" dirty="0">
                <a:latin typeface="Times New Roman"/>
                <a:cs typeface="Times New Roman"/>
              </a:rPr>
            </a:br>
            <a:br>
              <a:rPr lang="en-US" dirty="0">
                <a:latin typeface="Times New Roman"/>
                <a:cs typeface="Times New Roman"/>
              </a:rPr>
            </a:br>
            <a:br>
              <a:rPr lang="en-US" dirty="0">
                <a:latin typeface="Times New Roman"/>
                <a:cs typeface="Times New Roman"/>
              </a:rPr>
            </a:br>
            <a:endParaRPr lang="en-US" dirty="0">
              <a:latin typeface="Times New Roman"/>
              <a:cs typeface="Times New Roman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6360791" y="3747441"/>
            <a:ext cx="2854655" cy="141840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52919" y="3475622"/>
            <a:ext cx="257495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Updated Statistics:</a:t>
            </a:r>
          </a:p>
          <a:p>
            <a:endParaRPr lang="en-US" sz="2000" b="1" dirty="0"/>
          </a:p>
          <a:p>
            <a:r>
              <a:rPr lang="en-US" sz="2000" dirty="0"/>
              <a:t>National Health &amp; Nutrition Examination Survey</a:t>
            </a:r>
          </a:p>
          <a:p>
            <a:r>
              <a:rPr lang="en-US" sz="2000" dirty="0"/>
              <a:t>July 2020 ; findings from 2017 reports.</a:t>
            </a:r>
          </a:p>
          <a:p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4800338" y="2084438"/>
            <a:ext cx="59755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623514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877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9"/>
            <a:ext cx="10058400" cy="83184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  <a:ea typeface="+mn-ea"/>
                <a:cs typeface="+mn-cs"/>
              </a:rPr>
              <a:t>Blood Pressure Results 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40" name="Chart 39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906334"/>
              </p:ext>
            </p:extLst>
          </p:nvPr>
        </p:nvGraphicFramePr>
        <p:xfrm>
          <a:off x="8712200" y="2717800"/>
          <a:ext cx="2689225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152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623550" y="3375025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8F6446F-9E37-41F6-8A35-35C59FC72C56}" type="datetime'''''''''''''''''''''''''''''''''3''''5''''''''%'''''">
              <a:rPr lang="en-US" altLang="en-US" sz="1600" smtClean="0">
                <a:solidFill>
                  <a:schemeClr val="bg1"/>
                </a:solidFill>
              </a:rPr>
              <a:pPr/>
              <a:t>35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4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023350" y="3500438"/>
            <a:ext cx="430213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AF3C83C-36AA-4654-88BB-317F594E81CC}" type="datetime'''''''4''''''''''''0''''''''''%'''''''''''''''''''''''''">
              <a:rPr lang="en-US" altLang="en-US" sz="1600" smtClean="0">
                <a:solidFill>
                  <a:schemeClr val="bg1"/>
                </a:solidFill>
              </a:rPr>
              <a:pPr/>
              <a:t>40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774825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i="1" dirty="0">
                <a:solidFill>
                  <a:prstClr val="black"/>
                </a:solidFill>
                <a:latin typeface="+mj-lt"/>
              </a:rPr>
              <a:t> 328 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720138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+mj-lt"/>
              </a:rPr>
              <a:t>307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Total Participants </a:t>
            </a:r>
          </a:p>
        </p:txBody>
      </p:sp>
      <p:graphicFrame>
        <p:nvGraphicFramePr>
          <p:cNvPr id="51" name="Chart 50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54941427"/>
              </p:ext>
            </p:extLst>
          </p:nvPr>
        </p:nvGraphicFramePr>
        <p:xfrm>
          <a:off x="5975350" y="2717800"/>
          <a:ext cx="2689225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4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972425" y="3630613"/>
            <a:ext cx="4222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44088A6-F654-4A79-B32C-E9F4A8FBF509}" type="datetime'''''''''''''''''''''''''''''''4''''''''''''''''5''%'''''">
              <a:rPr lang="en-US" altLang="en-US" sz="1600" smtClean="0">
                <a:solidFill>
                  <a:schemeClr val="bg1"/>
                </a:solidFill>
              </a:rPr>
              <a:pPr/>
              <a:t>45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356350" y="3352800"/>
            <a:ext cx="417513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B6517DD-71C1-4E97-A45C-3B00830A42B9}" type="datetime'''3''''''''''''''''''''4''''''%'''">
              <a:rPr lang="en-US" altLang="en-US" sz="1600" smtClean="0">
                <a:solidFill>
                  <a:schemeClr val="bg1"/>
                </a:solidFill>
              </a:rPr>
              <a:pPr/>
              <a:t>34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983288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+mj-lt"/>
              </a:rPr>
              <a:t>345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Total Participants </a:t>
            </a:r>
          </a:p>
        </p:txBody>
      </p:sp>
      <p:graphicFrame>
        <p:nvGraphicFramePr>
          <p:cNvPr id="31" name="Chart 30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39430103"/>
              </p:ext>
            </p:extLst>
          </p:nvPr>
        </p:nvGraphicFramePr>
        <p:xfrm>
          <a:off x="962025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176" name="Straight Connector 175"/>
          <p:cNvCxnSpPr/>
          <p:nvPr/>
        </p:nvCxnSpPr>
        <p:spPr>
          <a:xfrm>
            <a:off x="4185699" y="1160749"/>
            <a:ext cx="384048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>
            <p:custDataLst>
              <p:tags r:id="rId9"/>
            </p:custDataLst>
          </p:nvPr>
        </p:nvSpPr>
        <p:spPr bwMode="auto">
          <a:xfrm>
            <a:off x="7615238" y="5570538"/>
            <a:ext cx="214313" cy="160338"/>
          </a:xfrm>
          <a:prstGeom prst="rect">
            <a:avLst/>
          </a:prstGeom>
          <a:solidFill>
            <a:srgbClr val="13C80F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>
            <p:custDataLst>
              <p:tags r:id="rId10"/>
            </p:custDataLst>
          </p:nvPr>
        </p:nvSpPr>
        <p:spPr bwMode="auto">
          <a:xfrm>
            <a:off x="7615238" y="5794375"/>
            <a:ext cx="214313" cy="160338"/>
          </a:xfrm>
          <a:prstGeom prst="rect">
            <a:avLst/>
          </a:prstGeom>
          <a:solidFill>
            <a:schemeClr val="accent1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>
            <p:custDataLst>
              <p:tags r:id="rId11"/>
            </p:custDataLst>
          </p:nvPr>
        </p:nvSpPr>
        <p:spPr bwMode="auto">
          <a:xfrm>
            <a:off x="7615238" y="6018213"/>
            <a:ext cx="214313" cy="160338"/>
          </a:xfrm>
          <a:prstGeom prst="rect">
            <a:avLst/>
          </a:prstGeom>
          <a:solidFill>
            <a:srgbClr val="C30C3E"/>
          </a:solidFill>
          <a:ln w="1079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079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045450" y="6026150"/>
            <a:ext cx="17938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BB6D5E-42F2-4F4D-B1A2-8EF9BE411661}" type="datetime'Mo''de''rate t''''o'''' s''''''eve''''''r''e: ''&gt;''140/''9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oderate to severe: &gt;140/90</a:t>
            </a:fld>
            <a:endParaRPr lang="en-US" sz="1200" dirty="0"/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23275" y="5578475"/>
            <a:ext cx="10398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31809D-B446-4002-B87F-A97BB2DCC94B}" type="datetime'''''''N''''o''''r''''''m''a''''''l: ''&lt;''1''20''''/''''''80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rmal: &lt;120/80</a:t>
            </a:fld>
            <a:endParaRPr lang="en-US" sz="1200" dirty="0"/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880350" y="5802313"/>
            <a:ext cx="21240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F6B8CC-DFA3-4CD5-AE99-4EAAD0E44810}" type="datetime'Pre''-''''hy''perte''n''''sion'': &gt;1''2''0/8''0-1''39/''''89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e-hypertension: &gt;120/80-139/89</a:t>
            </a:fld>
            <a:endParaRPr lang="en-US" sz="1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0" y="6314460"/>
            <a:ext cx="12192000" cy="55245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6BE675F-FFDA-2F85-3B50-143EBF6B8BE4}"/>
              </a:ext>
            </a:extLst>
          </p:cNvPr>
          <p:cNvSpPr txBox="1"/>
          <p:nvPr/>
        </p:nvSpPr>
        <p:spPr>
          <a:xfrm>
            <a:off x="10160239" y="5505748"/>
            <a:ext cx="19497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On meds:  10% 2023</a:t>
            </a:r>
          </a:p>
          <a:p>
            <a:r>
              <a:rPr lang="en-US" sz="1200" b="1" dirty="0"/>
              <a:t>                       12% 2022</a:t>
            </a:r>
          </a:p>
        </p:txBody>
      </p:sp>
    </p:spTree>
    <p:extLst>
      <p:ext uri="{BB962C8B-B14F-4D97-AF65-F5344CB8AC3E}">
        <p14:creationId xmlns:p14="http://schemas.microsoft.com/office/powerpoint/2010/main" val="3083987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5569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9"/>
            <a:ext cx="10058400" cy="83184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BMI</a:t>
            </a:r>
            <a:r>
              <a:rPr lang="en-US" b="1" dirty="0">
                <a:ea typeface="+mn-ea"/>
                <a:cs typeface="+mn-cs"/>
              </a:rPr>
              <a:t> </a:t>
            </a:r>
            <a:r>
              <a:rPr lang="en-US" dirty="0">
                <a:ea typeface="+mn-ea"/>
                <a:cs typeface="+mn-cs"/>
              </a:rPr>
              <a:t>Results</a:t>
            </a:r>
            <a:endParaRPr lang="en-US" dirty="0"/>
          </a:p>
        </p:txBody>
      </p:sp>
      <p:graphicFrame>
        <p:nvGraphicFramePr>
          <p:cNvPr id="61" name="Chart 60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5350"/>
              </p:ext>
            </p:extLst>
          </p:nvPr>
        </p:nvGraphicFramePr>
        <p:xfrm>
          <a:off x="905351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54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466263" y="3097213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550961E4-FB64-46D0-9E0D-C21D814D10BB}" type="datetime'2''''''''''''''''''''''''''''''''''''''''''''''2''''%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2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848975" y="3497263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3FE66EC9-F175-40FD-899D-9C17B64E3275}" type="datetime'''4''''''''0''''''''''%'''''''''''''''''''''''''''''''">
              <a:rPr lang="en-US" altLang="en-US" sz="160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0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550400" y="4506914"/>
            <a:ext cx="409575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4CB3604-F7F2-449F-845C-A536D1324E70}" type="datetime'''''3''8''''''''''''%'''''''''''''">
              <a:rPr lang="en-US" altLang="en-US" sz="1600" smtClean="0">
                <a:solidFill>
                  <a:srgbClr val="FFFFFF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8%</a:t>
            </a:fld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328</a:t>
            </a:r>
            <a:r>
              <a:rPr kumimoji="0" lang="en-US" sz="14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Calibri Light" panose="020F0302020204030204"/>
              </a:rPr>
              <a:t>307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62" name="Chart 61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02403427"/>
              </p:ext>
            </p:extLst>
          </p:nvPr>
        </p:nvGraphicFramePr>
        <p:xfrm>
          <a:off x="631666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8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139113" y="3576638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BBAAB12F-A83B-4728-98C6-F822B28DE177}" type="datetime'''''''''''''''''''''''4''''''''''''3''''''''''''''''''''%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43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14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750050" y="3078163"/>
            <a:ext cx="409575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B5F73676-BA57-4E10-993D-EF37EEA0284D}" type="datetime'''''''21''''''''''''''''''''''''%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1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729413" y="4437064"/>
            <a:ext cx="409575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6145DAE-B2A4-4A66-8F6D-087C5BA45E90}" type="datetime'''''''''3''''''''''''''''''''''6''%'''''''''''''''''''''''''">
              <a:rPr lang="en-US" altLang="en-US" sz="1600" smtClean="0">
                <a:solidFill>
                  <a:srgbClr val="FFFFFF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6%</a:t>
            </a:fld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345 Total Participants </a:t>
            </a:r>
          </a:p>
        </p:txBody>
      </p:sp>
      <p:graphicFrame>
        <p:nvGraphicFramePr>
          <p:cNvPr id="64" name="Chart 6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0164960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4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068638" y="2135189"/>
            <a:ext cx="306388" cy="244475"/>
          </a:xfrm>
          <a:prstGeom prst="rect">
            <a:avLst/>
          </a:prstGeom>
          <a:solidFill>
            <a:srgbClr val="FCCD22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DB8A5FA-F812-4AB9-8C4A-CF4B3360A619}" type="datetime'1''''''''''''''''''''''''''''''''''''''''''%'''''''''''''''''">
              <a:rPr lang="en-US" altLang="en-US" sz="1600" smtClean="0"/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6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85699" y="1219741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>
            <p:custDataLst>
              <p:tags r:id="rId12"/>
            </p:custDataLst>
          </p:nvPr>
        </p:nvSpPr>
        <p:spPr bwMode="auto">
          <a:xfrm>
            <a:off x="7556500" y="5438775"/>
            <a:ext cx="250825" cy="187325"/>
          </a:xfrm>
          <a:prstGeom prst="rect">
            <a:avLst/>
          </a:prstGeom>
          <a:solidFill>
            <a:schemeClr val="accent6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>
            <p:custDataLst>
              <p:tags r:id="rId13"/>
            </p:custDataLst>
          </p:nvPr>
        </p:nvSpPr>
        <p:spPr bwMode="auto">
          <a:xfrm>
            <a:off x="7556500" y="5184775"/>
            <a:ext cx="250825" cy="187325"/>
          </a:xfrm>
          <a:prstGeom prst="rect">
            <a:avLst/>
          </a:prstGeom>
          <a:solidFill>
            <a:srgbClr val="13C80F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>
            <p:custDataLst>
              <p:tags r:id="rId14"/>
            </p:custDataLst>
          </p:nvPr>
        </p:nvSpPr>
        <p:spPr bwMode="auto">
          <a:xfrm>
            <a:off x="7556500" y="5692775"/>
            <a:ext cx="250825" cy="187325"/>
          </a:xfrm>
          <a:prstGeom prst="rect">
            <a:avLst/>
          </a:prstGeom>
          <a:solidFill>
            <a:srgbClr val="C30C3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>
            <p:custDataLst>
              <p:tags r:id="rId15"/>
            </p:custDataLst>
          </p:nvPr>
        </p:nvSpPr>
        <p:spPr bwMode="auto">
          <a:xfrm>
            <a:off x="7556500" y="5946775"/>
            <a:ext cx="250825" cy="187325"/>
          </a:xfrm>
          <a:prstGeom prst="rect">
            <a:avLst/>
          </a:prstGeom>
          <a:solidFill>
            <a:srgbClr val="FCCD2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156602" y="5935718"/>
            <a:ext cx="10493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816C2B-D4AB-4FE0-A034-DB573E41C162}" type="datetime'''D''''''ecl''i''''''''''''''n''ed ''''Da''''''''''''ta ''''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lined Data </a:t>
            </a:fld>
            <a:endParaRPr lang="en-US" sz="1400" dirty="0"/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058150" y="5703888"/>
            <a:ext cx="1127891" cy="242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 &gt; 30%  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BF950C-8ED5-4B4C-1C9D-58C353E9A313}"/>
              </a:ext>
            </a:extLst>
          </p:cNvPr>
          <p:cNvSpPr txBox="1"/>
          <p:nvPr/>
        </p:nvSpPr>
        <p:spPr>
          <a:xfrm>
            <a:off x="8261132" y="5184775"/>
            <a:ext cx="16988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&lt; 25%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E4E960-0748-40EB-AFCC-F5AE641706AB}"/>
              </a:ext>
            </a:extLst>
          </p:cNvPr>
          <p:cNvSpPr txBox="1"/>
          <p:nvPr/>
        </p:nvSpPr>
        <p:spPr>
          <a:xfrm>
            <a:off x="8033572" y="5465205"/>
            <a:ext cx="23447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25% to &lt; 30 %</a:t>
            </a:r>
          </a:p>
        </p:txBody>
      </p:sp>
    </p:spTree>
    <p:extLst>
      <p:ext uri="{BB962C8B-B14F-4D97-AF65-F5344CB8AC3E}">
        <p14:creationId xmlns:p14="http://schemas.microsoft.com/office/powerpoint/2010/main" val="358119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6815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dirty="0"/>
              <a:t>Health Goals: </a:t>
            </a:r>
            <a:br>
              <a:rPr lang="en-US" dirty="0"/>
            </a:br>
            <a:r>
              <a:rPr lang="en-US" sz="1800" dirty="0"/>
              <a:t>Southern Adventist University</a:t>
            </a:r>
            <a:br>
              <a:rPr lang="en-US" sz="1800" dirty="0"/>
            </a:br>
            <a:br>
              <a:rPr lang="en-US" sz="1800" dirty="0"/>
            </a:b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Courier New" panose="02070309020205020404" pitchFamily="49" charset="0"/>
              <a:buChar char="o"/>
            </a:pPr>
            <a:r>
              <a:rPr lang="en-US" dirty="0"/>
              <a:t>Reduce the incidence of </a:t>
            </a:r>
            <a:r>
              <a:rPr lang="en-US" dirty="0">
                <a:solidFill>
                  <a:schemeClr val="accent6"/>
                </a:solidFill>
              </a:rPr>
              <a:t>obesity</a:t>
            </a:r>
            <a:r>
              <a:rPr lang="en-US" dirty="0"/>
              <a:t> (&gt;30 BMI) to 18% to :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17.82 % by 2014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6"/>
                </a:solidFill>
              </a:rPr>
              <a:t>16.74 by 2020 ; currently at 22%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15.84 by 2025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dirty="0"/>
              <a:t>Reduce the incidence of overweight (25-30 BMI) from 39% to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38.61% by 2014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3"/>
                </a:solidFill>
              </a:rPr>
              <a:t>36.27% by 2020 ; currently at 36%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34.32% by 2025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dirty="0"/>
              <a:t>Increase the proportion of adults who are </a:t>
            </a:r>
            <a:r>
              <a:rPr lang="en-US" dirty="0">
                <a:solidFill>
                  <a:schemeClr val="accent3"/>
                </a:solidFill>
              </a:rPr>
              <a:t>healthy</a:t>
            </a:r>
            <a:r>
              <a:rPr lang="en-US" dirty="0"/>
              <a:t> (&lt;25 BMI) from 43% to: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43.43% by 2014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accent6"/>
                </a:solidFill>
              </a:rPr>
              <a:t>46.01% by 2020 ; currently at 41%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48.16% by 2025</a:t>
            </a:r>
          </a:p>
          <a:p>
            <a:pPr marL="502920" lvl="1" indent="0">
              <a:buNone/>
            </a:pPr>
            <a:endParaRPr lang="en-US" sz="1600" b="1" dirty="0">
              <a:solidFill>
                <a:schemeClr val="accent6"/>
              </a:solidFill>
            </a:endParaRPr>
          </a:p>
          <a:p>
            <a:pPr marL="502920" lvl="1" indent="0">
              <a:buNone/>
            </a:pPr>
            <a:r>
              <a:rPr lang="en-US" sz="1600" b="1" dirty="0">
                <a:solidFill>
                  <a:schemeClr val="accent6"/>
                </a:solidFill>
              </a:rPr>
              <a:t>* Note 1% declined test results *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These results are based upon Healthy People 2020 guidelines by reducing unhealthy percentages by 10% over a 10 year period. Also increasing healthy percentages by 10% over a 10 year period.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8729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437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9"/>
            <a:ext cx="10058400" cy="83184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Glucose Results</a:t>
            </a:r>
            <a:endParaRPr lang="en-US" dirty="0"/>
          </a:p>
        </p:txBody>
      </p:sp>
      <p:graphicFrame>
        <p:nvGraphicFramePr>
          <p:cNvPr id="70" name="Chart 69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4342374"/>
              </p:ext>
            </p:extLst>
          </p:nvPr>
        </p:nvGraphicFramePr>
        <p:xfrm>
          <a:off x="905351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8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574338" y="4437063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3A5CBF-9F84-42D9-8DFA-57B84C02AB6E}" type="datetime'''''7''''''''''''''8''''%'''''''''''''''''''''''''''''">
              <a:rPr lang="en-US" altLang="en-US" sz="1600" smtClean="0">
                <a:solidFill>
                  <a:srgbClr val="FFFFFF"/>
                </a:solidFill>
              </a:rPr>
              <a:pPr/>
              <a:t>78%</a:t>
            </a:fld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390063" y="3175000"/>
            <a:ext cx="409575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5F223FE-6149-4D24-8E62-94F587DF2DC7}" type="datetime'''''''''''''18''''''''''''%'''''''''''''''">
              <a:rPr lang="en-US" altLang="en-US" sz="1600" smtClean="0">
                <a:solidFill>
                  <a:schemeClr val="bg1"/>
                </a:solidFill>
              </a:rPr>
              <a:pPr/>
              <a:t>18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955213" y="2838450"/>
            <a:ext cx="306388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28C3318-1CAF-498B-A20F-E90C069AD7C5}" type="datetime'''''''''''''''''''''''''''''''''''4''''%'''''''''''''''''">
              <a:rPr lang="en-US" altLang="en-US" sz="1600" smtClean="0">
                <a:solidFill>
                  <a:schemeClr val="bg1"/>
                </a:solidFill>
              </a:rPr>
              <a:pPr/>
              <a:t>4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328 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Calibri Light" panose="020F0302020204030204"/>
              </a:rPr>
              <a:t>307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71" name="Chart 70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00857460"/>
              </p:ext>
            </p:extLst>
          </p:nvPr>
        </p:nvGraphicFramePr>
        <p:xfrm>
          <a:off x="6156325" y="2717800"/>
          <a:ext cx="2665413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6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477000" y="3446464"/>
            <a:ext cx="409575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559E1BF-88E9-433F-A227-8B371DFE7EFF}" type="datetime'''''''''''''''''''''''''''''''''1''''''''9''''''''''%'''''''">
              <a:rPr lang="en-US" altLang="en-US" sz="1600" smtClean="0">
                <a:solidFill>
                  <a:srgbClr val="FFFFFF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945438" y="4322763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C45D19D-BBD9-4218-8570-17FE5AB7C8FE}" type="datetime'''''''''''''''''''''''''''''''''7''8''''%'''''''''''''''''">
              <a:rPr lang="en-US" altLang="en-US" sz="1600" smtClean="0">
                <a:solidFill>
                  <a:srgbClr val="FFFFFF"/>
                </a:solidFill>
              </a:rPr>
              <a:pPr/>
              <a:t>78%</a:t>
            </a:fld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1" name="Rectangle 40"/>
          <p:cNvSpPr/>
          <p:nvPr>
            <p:custDataLst>
              <p:tags r:id="rId9"/>
            </p:custDataLst>
          </p:nvPr>
        </p:nvSpPr>
        <p:spPr bwMode="auto">
          <a:xfrm>
            <a:off x="8224838" y="5337175"/>
            <a:ext cx="214313" cy="160338"/>
          </a:xfrm>
          <a:prstGeom prst="rect">
            <a:avLst/>
          </a:prstGeom>
          <a:solidFill>
            <a:srgbClr val="13C80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>
            <p:custDataLst>
              <p:tags r:id="rId10"/>
            </p:custDataLst>
          </p:nvPr>
        </p:nvSpPr>
        <p:spPr bwMode="auto">
          <a:xfrm>
            <a:off x="8224838" y="5570538"/>
            <a:ext cx="214313" cy="160338"/>
          </a:xfrm>
          <a:prstGeom prst="rect">
            <a:avLst/>
          </a:prstGeom>
          <a:solidFill>
            <a:schemeClr val="accent6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 bwMode="auto">
          <a:xfrm>
            <a:off x="8224838" y="5803900"/>
            <a:ext cx="214312" cy="160338"/>
          </a:xfrm>
          <a:prstGeom prst="rect">
            <a:avLst/>
          </a:prstGeom>
          <a:solidFill>
            <a:srgbClr val="C30C3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547100" y="5332413"/>
            <a:ext cx="8477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66FAFF83-3BA5-4C32-8E7C-F225644971E8}" type="datetime'''N''''''o''''''r''''''''''''m''''a''''l: ''&lt;1''''''''00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Normal: &lt;10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535988" y="5565775"/>
            <a:ext cx="869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CDE798BC-DC4C-4EA0-92B8-76DFEC92A4A6}" type="datetime'H''''''''i''g''''''h'': ''''100''''''''''''''''''''''-1''25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High: 100-1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489950" y="5799138"/>
            <a:ext cx="9620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E187B4E4-D897-4100-91DB-00780A249FD8}" type="datetime'V''e''''''''''ry ''''''''''h''i''g''h'':'''' &gt;''''125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Very high: &gt;1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345</a:t>
            </a:r>
            <a:r>
              <a:rPr kumimoji="0" lang="en-US" sz="11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otal Participants </a:t>
            </a:r>
          </a:p>
        </p:txBody>
      </p:sp>
      <p:graphicFrame>
        <p:nvGraphicFramePr>
          <p:cNvPr id="73" name="Chart 72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46176055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85699" y="1219741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434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933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9"/>
            <a:ext cx="10058400" cy="83184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Hemoglobin A1C Results</a:t>
            </a:r>
            <a:endParaRPr lang="en-US" dirty="0"/>
          </a:p>
        </p:txBody>
      </p:sp>
      <p:graphicFrame>
        <p:nvGraphicFramePr>
          <p:cNvPr id="50" name="Chart 49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5231631"/>
              </p:ext>
            </p:extLst>
          </p:nvPr>
        </p:nvGraphicFramePr>
        <p:xfrm>
          <a:off x="905351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3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213850" y="4086225"/>
            <a:ext cx="409575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294EBE75-D4B8-4A66-8D2D-0C13DC98B93D}" type="datetime'4''''''''8''''''''''''''''''''''''''''''''%''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48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890250" y="3629025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BBF20AD-F41C-4373-9344-484325FADF71}" type="datetime'''''''''''''''''4''''5''''''''''''''''''''''%'''''''''''">
              <a:rPr lang="en-US" altLang="en-US" sz="1600" smtClean="0">
                <a:solidFill>
                  <a:srgbClr val="FFFFFF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5%</a:t>
            </a:fld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328</a:t>
            </a:r>
            <a:r>
              <a:rPr kumimoji="0" lang="en-US" sz="1400" b="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307 Total Participants </a:t>
            </a:r>
          </a:p>
        </p:txBody>
      </p:sp>
      <p:graphicFrame>
        <p:nvGraphicFramePr>
          <p:cNvPr id="38" name="Chart 37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38275214"/>
              </p:ext>
            </p:extLst>
          </p:nvPr>
        </p:nvGraphicFramePr>
        <p:xfrm>
          <a:off x="631666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8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896225" y="4379913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9D37866A-3488-46C4-A3DD-EFFCF55F583B}" type="datetime'''''''7''''''''5''''''''''''''''''''''''%''''''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75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618288" y="3216275"/>
            <a:ext cx="409575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fld id="{D252EE37-BE17-49E9-99F5-A8912AE4948A}" type="datetime'''''''''''''''''''''''''''''''''''''''2''''''''2''''''%'">
              <a:rPr kumimoji="0" lang="en-US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100000"/>
                <a:buFont typeface="Calibri" panose="020F0502020204030204" pitchFamily="34" charset="0"/>
                <a:buNone/>
                <a:tabLst/>
                <a:defRPr/>
              </a:pPr>
              <a:t>22%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246938" y="2832100"/>
            <a:ext cx="306388" cy="244475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7EA7377F-BD90-4599-9DD9-E58D0C06C77C}" type="datetime'''''''''3''''''''''''''''''%'">
              <a:rPr lang="en-US" altLang="en-US" sz="1600" smtClean="0">
                <a:solidFill>
                  <a:schemeClr val="bg1"/>
                </a:solidFill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>
            <p:custDataLst>
              <p:tags r:id="rId9"/>
            </p:custDataLst>
          </p:nvPr>
        </p:nvSpPr>
        <p:spPr bwMode="auto">
          <a:xfrm>
            <a:off x="8224838" y="5337175"/>
            <a:ext cx="214313" cy="160338"/>
          </a:xfrm>
          <a:prstGeom prst="rect">
            <a:avLst/>
          </a:prstGeom>
          <a:solidFill>
            <a:srgbClr val="13C80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>
            <p:custDataLst>
              <p:tags r:id="rId10"/>
            </p:custDataLst>
          </p:nvPr>
        </p:nvSpPr>
        <p:spPr bwMode="auto">
          <a:xfrm>
            <a:off x="8224838" y="5570538"/>
            <a:ext cx="214313" cy="160338"/>
          </a:xfrm>
          <a:prstGeom prst="rect">
            <a:avLst/>
          </a:prstGeom>
          <a:solidFill>
            <a:schemeClr val="accent6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>
            <p:custDataLst>
              <p:tags r:id="rId11"/>
            </p:custDataLst>
          </p:nvPr>
        </p:nvSpPr>
        <p:spPr bwMode="auto">
          <a:xfrm>
            <a:off x="8224838" y="5803900"/>
            <a:ext cx="214312" cy="160338"/>
          </a:xfrm>
          <a:prstGeom prst="rect">
            <a:avLst/>
          </a:prstGeom>
          <a:solidFill>
            <a:srgbClr val="C30C3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5875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631238" y="5332413"/>
            <a:ext cx="9715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EB56C18D-FB77-40B3-A912-FDA447DDFA85}" type="datetime'Norm''a''''l'''''':'' ''''''4''''.''''''''''''7-5''''.''''''6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Normal: 4.7-5.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89950" y="5565775"/>
            <a:ext cx="12541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DC25E12D-DF11-4C0E-A1BD-BE6262D1E15C}" type="datetime'''Pr''e''''-diab''''''e''''''''t''i''c: 5''.''7''''-''6.''''4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Pre-diabetic: 5.7-6.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672513" y="5799138"/>
            <a:ext cx="889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76299AF6-74E5-4C93-874A-C3243CCC0FFB}" type="datetime'''''''''''Di''a''b''e''t''i''''''''c:'' ''''''''''&gt;''6.4 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Diabetic: &gt;6.4 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345 Total Participants </a:t>
            </a:r>
          </a:p>
        </p:txBody>
      </p:sp>
      <p:graphicFrame>
        <p:nvGraphicFramePr>
          <p:cNvPr id="46" name="Chart 45"/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015991870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85699" y="1219741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454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237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rends of A1C Values at SAU</a:t>
            </a:r>
          </a:p>
        </p:txBody>
      </p:sp>
      <p:graphicFrame>
        <p:nvGraphicFramePr>
          <p:cNvPr id="4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19686"/>
              </p:ext>
            </p:extLst>
          </p:nvPr>
        </p:nvGraphicFramePr>
        <p:xfrm>
          <a:off x="3706761" y="747250"/>
          <a:ext cx="7895304" cy="535858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613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25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121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968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Year</a:t>
                      </a:r>
                    </a:p>
                  </a:txBody>
                  <a:tcPr marL="121920" marR="121920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Normal (4.7-5.6%)</a:t>
                      </a:r>
                    </a:p>
                  </a:txBody>
                  <a:tcPr marL="121920" marR="121920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Borderline (5.7-6.4%)</a:t>
                      </a:r>
                    </a:p>
                  </a:txBody>
                  <a:tcPr marL="121920" marR="121920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High (&gt;6.4%)</a:t>
                      </a:r>
                    </a:p>
                  </a:txBody>
                  <a:tcPr marL="121920" marR="121920"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2013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3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24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2014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88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0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2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2015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85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2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2016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69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27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4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2017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5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22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-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-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-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-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2020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7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20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2021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45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48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+mj-lt"/>
                        </a:rPr>
                        <a:t>2022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5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22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8714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latin typeface="+mj-lt"/>
                        </a:rPr>
                        <a:t>2023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rgbClr val="00B050"/>
                          </a:solidFill>
                        </a:rPr>
                        <a:t>72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accent1"/>
                          </a:solidFill>
                        </a:rPr>
                        <a:t>25%</a:t>
                      </a: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accent6"/>
                          </a:solidFill>
                        </a:rPr>
                        <a:t>3%</a:t>
                      </a:r>
                    </a:p>
                  </a:txBody>
                  <a:tcPr marL="121920" marR="121920"/>
                </a:tc>
                <a:extLst>
                  <a:ext uri="{0D108BD9-81ED-4DB2-BD59-A6C34878D82A}">
                    <a16:rowId xmlns:a16="http://schemas.microsoft.com/office/drawing/2014/main" val="599110882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984" y="6190016"/>
            <a:ext cx="1109228" cy="551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878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9008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idx="4294967295"/>
          </p:nvPr>
        </p:nvSpPr>
        <p:spPr>
          <a:xfrm>
            <a:off x="1076739" y="318319"/>
            <a:ext cx="10058400" cy="831848"/>
          </a:xfrm>
        </p:spPr>
        <p:txBody>
          <a:bodyPr vert="horz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dirty="0">
                <a:ea typeface="+mn-ea"/>
                <a:cs typeface="+mn-cs"/>
              </a:rPr>
              <a:t>Total Cholesterol Results</a:t>
            </a:r>
            <a:endParaRPr lang="en-US" dirty="0"/>
          </a:p>
        </p:txBody>
      </p:sp>
      <p:graphicFrame>
        <p:nvGraphicFramePr>
          <p:cNvPr id="53" name="Chart 52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7014883"/>
              </p:ext>
            </p:extLst>
          </p:nvPr>
        </p:nvGraphicFramePr>
        <p:xfrm>
          <a:off x="905351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1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748963" y="4229100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F029C703-913A-4D6B-BDD7-0FA4C2949E50}" type="datetime'''6''''''''''''''''''''''8''''%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68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191625" y="3497263"/>
            <a:ext cx="409575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F4FCF325-7BD9-4447-853D-79867D591AB8}" type="datetime'''''''''''''''''''2''''''''''''4''''''%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4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943100" y="1363526"/>
            <a:ext cx="2676525" cy="739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3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328 Total Participants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888413" y="215998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1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Calibri Light" panose="020F0302020204030204"/>
              </a:rPr>
              <a:t>307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49" name="Chart 48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12287168"/>
              </p:ext>
            </p:extLst>
          </p:nvPr>
        </p:nvGraphicFramePr>
        <p:xfrm>
          <a:off x="6316663" y="2717800"/>
          <a:ext cx="2344737" cy="2344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8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026400" y="4206875"/>
            <a:ext cx="409575" cy="244475"/>
          </a:xfrm>
          <a:prstGeom prst="rect">
            <a:avLst/>
          </a:prstGeom>
          <a:solidFill>
            <a:srgbClr val="13C80F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9575F0EE-F9E2-4C64-AD61-8C888AAA0C2B}" type="datetime'''''''6''''7''''''''''''%''''''''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67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7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437313" y="3549650"/>
            <a:ext cx="409575" cy="2444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None/>
            </a:pPr>
            <a:fld id="{3631A5EA-E2BA-4C93-9944-3C07D027F66E}" type="datetime'''''''''''''''2''''''4''''''''''''''''''''''''''''''''%'''''">
              <a:rPr lang="en-US" altLang="en-US" sz="1600" smtClean="0">
                <a:solidFill>
                  <a:srgbClr val="FFFFFF"/>
                </a:solidFill>
              </a:rPr>
              <a:pPr marL="0" lv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None/>
              </a:pPr>
              <a:t>24%</a:t>
            </a:fld>
            <a:endParaRPr kumimoji="0" lang="en-US" sz="16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43" name="Rectangle 42"/>
          <p:cNvSpPr/>
          <p:nvPr>
            <p:custDataLst>
              <p:tags r:id="rId8"/>
            </p:custDataLst>
          </p:nvPr>
        </p:nvSpPr>
        <p:spPr bwMode="auto">
          <a:xfrm>
            <a:off x="8224838" y="5803900"/>
            <a:ext cx="214313" cy="160338"/>
          </a:xfrm>
          <a:prstGeom prst="rect">
            <a:avLst/>
          </a:prstGeom>
          <a:solidFill>
            <a:srgbClr val="C30C3E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>
            <p:custDataLst>
              <p:tags r:id="rId9"/>
            </p:custDataLst>
          </p:nvPr>
        </p:nvSpPr>
        <p:spPr bwMode="auto">
          <a:xfrm>
            <a:off x="8224838" y="5337175"/>
            <a:ext cx="214313" cy="160338"/>
          </a:xfrm>
          <a:prstGeom prst="rect">
            <a:avLst/>
          </a:prstGeom>
          <a:solidFill>
            <a:srgbClr val="13C80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>
            <p:custDataLst>
              <p:tags r:id="rId10"/>
            </p:custDataLst>
          </p:nvPr>
        </p:nvSpPr>
        <p:spPr bwMode="auto">
          <a:xfrm>
            <a:off x="8224838" y="5570538"/>
            <a:ext cx="214313" cy="160338"/>
          </a:xfrm>
          <a:prstGeom prst="rect">
            <a:avLst/>
          </a:prstGeom>
          <a:solidFill>
            <a:schemeClr val="accent6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555038" y="5332413"/>
            <a:ext cx="84772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EFE9C211-9B0C-4A19-8BEE-0805AE515999}" type="datetime'''No''r''''m''''''a''''''''''''''''''l'''''': ''''&lt;200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Normal: &lt;20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543925" y="5565775"/>
            <a:ext cx="8699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BAE5ABF0-27C1-467D-A0E8-16E3F33D2180}" type="datetime'''H''i''gh: ''''''''20''''0''-''''''''239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High: 200-23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89950" y="5799138"/>
            <a:ext cx="977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494BA"/>
              </a:buClr>
              <a:buSzPct val="80000"/>
              <a:buFont typeface="Wingdings 3" charset="2"/>
              <a:buNone/>
              <a:tabLst/>
              <a:defRPr/>
            </a:pPr>
            <a:fld id="{E050B7E1-CAD1-4E4C-A89D-657D40D207BB}" type="datetime'Ve''''r''''''y ''''Hi''g''h'''':'''''''' ''&gt;''2''3''9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494BA"/>
                </a:buClr>
                <a:buSzPct val="80000"/>
                <a:buFont typeface="Wingdings 3" charset="2"/>
                <a:buNone/>
                <a:tabLst/>
                <a:defRPr/>
              </a:pPr>
              <a:t>Very High: &gt;23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51563" y="2149475"/>
            <a:ext cx="2674938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022 Results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i="1" dirty="0">
                <a:solidFill>
                  <a:prstClr val="black"/>
                </a:solidFill>
                <a:latin typeface="Calibri Light" panose="020F0302020204030204"/>
              </a:rPr>
              <a:t>345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Total Participants </a:t>
            </a:r>
          </a:p>
        </p:txBody>
      </p:sp>
      <p:graphicFrame>
        <p:nvGraphicFramePr>
          <p:cNvPr id="50" name="Chart 49"/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0671248"/>
              </p:ext>
            </p:extLst>
          </p:nvPr>
        </p:nvGraphicFramePr>
        <p:xfrm>
          <a:off x="1130300" y="2032000"/>
          <a:ext cx="4302125" cy="430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86977" y="5649242"/>
            <a:ext cx="1109228" cy="551147"/>
          </a:xfrm>
          <a:prstGeom prst="rect">
            <a:avLst/>
          </a:prstGeom>
        </p:spPr>
      </p:pic>
      <p:cxnSp>
        <p:nvCxnSpPr>
          <p:cNvPr id="176" name="Straight Connector 175"/>
          <p:cNvCxnSpPr/>
          <p:nvPr/>
        </p:nvCxnSpPr>
        <p:spPr>
          <a:xfrm>
            <a:off x="4185699" y="1219741"/>
            <a:ext cx="3840480" cy="0"/>
          </a:xfrm>
          <a:prstGeom prst="line">
            <a:avLst/>
          </a:prstGeom>
          <a:ln w="381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2268BFC0-9EB0-13F5-9C29-009A1FED18B8}"/>
              </a:ext>
            </a:extLst>
          </p:cNvPr>
          <p:cNvSpPr txBox="1"/>
          <p:nvPr/>
        </p:nvSpPr>
        <p:spPr>
          <a:xfrm>
            <a:off x="9984828" y="5412828"/>
            <a:ext cx="190237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dirty="0"/>
              <a:t>Total Cholesterol =</a:t>
            </a:r>
          </a:p>
          <a:p>
            <a:r>
              <a:rPr lang="en-US" sz="1500" dirty="0"/>
              <a:t>LDL + HDL + 1/5 Triglycerides</a:t>
            </a:r>
          </a:p>
        </p:txBody>
      </p:sp>
    </p:spTree>
    <p:extLst>
      <p:ext uri="{BB962C8B-B14F-4D97-AF65-F5344CB8AC3E}">
        <p14:creationId xmlns:p14="http://schemas.microsoft.com/office/powerpoint/2010/main" val="32237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99">
        <p14:ripple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FC&quot; g=&quot;CD&quot; b=&quot;2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xQZnOaksujdpKQWfJi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Ws7rrWdKIVGlPsbRFIJ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DMXek14rtnEMWvuDfv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fHi5jCxovfiUyGe_sg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2uvh.6edEMYx7ka_fpn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yk1sXzr1AgpdEXYGIGQ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gQLXaoy_p88pRrijqLH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DMXek14rtnEMWvuDfv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Jd_8qJvPd5VBdOPiRA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8j5YBqkuSaYNqaKc9tr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2uvh.6edEMYx7ka_fp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xQZnOaksujdpKQWfJi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Ws7rrWdKIVGlPsbRFI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DMXek14rtnEMWvuDfv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fHi5jCxovfiUyGe_sg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2uvh.6edEMYx7ka_fpn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Ws7rrWdKIVGlPsbRFIJ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DMXek14rtnEMWvuDfv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fHi5jCxovfiUyGe_s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wuhq_ka.rzHW0uxc6EN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2uvh.6edEMYx7ka_fpn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Orcyh_2hNLkgnLwveAa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Ws7rrWdKIVGlPsbRFIJ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DMXek14rtnEMWvuDfv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_QT9_uWJMd51I.xevHA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o9j8qZHeSYqChZgygIz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fHi5jCxovfiUyGe_sg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2uvh.6edEMYx7ka_fpn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.pteNjTn681CaIi.Dck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VENTTIMING" val="|m0;0;26;0|m0;8.2;28;0|m1;8.4;26;0|m1;14.9;28;0|m1;15.9;26;0|m1;15.9;28;0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VENTTIMING" val="|m0;0;26;0|m0;8.2;28;0|m1;8.4;26;0|m1;14.9;28;0|m1;15.9;26;0|m1;15.9;28;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VENTTIMING" val="|m0;0;26;0|m0;8.2;28;0|m1;8.4;26;0|m1;14.9;28;0|m1;15.9;26;0|m1;15.9;28;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rguAgQ5fhpRpLIUNFgI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VENTTIMING" val="|m0;0;26;0|m0;8.2;28;0|m1;8.4;26;0|m1;14.9;28;0|m1;15.9;26;0|m1;15.9;28;0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VENTTIMING" val="|m0;0;26;0|m0;8.2;28;0|m1;8.4;26;0|m1;14.9;28;0|m1;15.9;26;0|m1;15.9;28;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cXd3vbl0j2EncYIljJ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2GGoXkiiwlLLmw.I0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ty6jB0DCNKvHBwkIvN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Abl4HFftpNNMgSkA8T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xQZnOaksujdpKQWfJ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8j5YBqkuSaYNqaKc9t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D8IZo2eNAxYrhOmIz7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oexNFeDWmTsfysLQFdv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iP54QVL8WjE0LvBLBY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WBLycD6vDGnoGfeybk3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BdDi_ZVEfcZz5bCzmd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ALEQ2eMB1.xoC1EbAN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F0DBmWXFJVTeaP2hlB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xQZnOaksujdpKQWfJi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1XRKdyorGdsCeSyvoa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Ws7rrWdKIVGlPsbRFI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DMXek14rtnEMWvuDf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o9j8qZHeSYqChZgygI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fHi5jCxovfiUyGe_sg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2uvh.6edEMYx7ka_fp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.pteNjTn681CaIi.Dck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xQZnOaksujdpKQWfJi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Orcyh_2hNLkgnLwveAa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Ws7rrWdKIVGlPsbRFI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DMXek14rtnEMWvuDfv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o9j8qZHeSYqChZgygI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fHi5jCxovfiUyGe_s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2uvh.6edEMYx7ka_fpn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.pteNjTn681CaIi.Dc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xQZnOaksujdpKQWfJi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E2jzdqWf3nkX.yCRrlN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Ws7rrWdKIVGlPsbRFIJ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DMXek14rtnEMWvuDf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BfHi5jCxovfiUyGe_s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xQZnOaksujdpKQWfJi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2uvh.6edEMYx7ka_fpn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31uOgUyfOd0JQi..3pf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6r7pZk76fvk_8ooffYh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YxQZnOaksujdpKQWfJi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ZHmfuScbOi2bUOZQSiN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YbTB00JC1o0ggDCVcqO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VDdEmkrQ_QyPyJn72u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Abl4HFftpNNMgSkA8T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zagrckF60SuvUM11sc9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i6VsNrIe_qg_lr5zyU_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nU39OH9THmrLEWGJI91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6JpJWKov_vnIqEulC2Z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EXecX6mVFinGLG1Jti1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Teho_CRvbT7gLzcHm90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gamtLvKieglvTQs6iW0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hz1vsXZQgkzVDO6L3I7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nan1J_Cviiv43i8MeX3w"/>
</p:tagLst>
</file>

<file path=ppt/theme/theme1.xml><?xml version="1.0" encoding="utf-8"?>
<a:theme xmlns:a="http://schemas.openxmlformats.org/drawingml/2006/main" name="Frame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rame" id="{F226E7A2-7162-461C-9490-D27D9DC04E43}" vid="{629A0216-3BBD-45C0-B63F-2683BEA18F60}"/>
    </a:ext>
  </a:extLst>
</a:theme>
</file>

<file path=ppt/theme/theme2.xml><?xml version="1.0" encoding="utf-8"?>
<a:theme xmlns:a="http://schemas.openxmlformats.org/drawingml/2006/main" name="Retrospect">
  <a:themeElements>
    <a:clrScheme name="Custom 1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88</TotalTime>
  <Words>1167</Words>
  <Application>Microsoft Macintosh PowerPoint</Application>
  <PresentationFormat>Widescreen</PresentationFormat>
  <Paragraphs>367</Paragraphs>
  <Slides>23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Avenir Black</vt:lpstr>
      <vt:lpstr>Calibri</vt:lpstr>
      <vt:lpstr>Calibri Light</vt:lpstr>
      <vt:lpstr>Corbel</vt:lpstr>
      <vt:lpstr>Courier New</vt:lpstr>
      <vt:lpstr>Times New Roman</vt:lpstr>
      <vt:lpstr>Trebuchet MS</vt:lpstr>
      <vt:lpstr>Wingdings 2</vt:lpstr>
      <vt:lpstr>Wingdings 3</vt:lpstr>
      <vt:lpstr>Frame</vt:lpstr>
      <vt:lpstr>Retrospect</vt:lpstr>
      <vt:lpstr>think-cell Slide</vt:lpstr>
      <vt:lpstr>PowerPoint Presentation</vt:lpstr>
      <vt:lpstr>Wellness Assessment Results   </vt:lpstr>
      <vt:lpstr>Blood Pressure Results </vt:lpstr>
      <vt:lpstr>BMI Results</vt:lpstr>
      <vt:lpstr>Health Goals:  Southern Adventist University  </vt:lpstr>
      <vt:lpstr>Glucose Results</vt:lpstr>
      <vt:lpstr>Hemoglobin A1C Results</vt:lpstr>
      <vt:lpstr>Trends of A1C Values at SAU</vt:lpstr>
      <vt:lpstr>Total Cholesterol Results</vt:lpstr>
      <vt:lpstr>LDL Results (Unhealthy Cholesterol)</vt:lpstr>
      <vt:lpstr>HDL Results Women (Healthy Cholesterol)</vt:lpstr>
      <vt:lpstr>HDL Results Male (Healthy Cholesterol)</vt:lpstr>
      <vt:lpstr>Triglycerides Results</vt:lpstr>
      <vt:lpstr>PSA Result Men &gt; 40-Prostate Specific Antigen Test</vt:lpstr>
      <vt:lpstr>TSH Results – Women Thyroid Stimulating Hormone </vt:lpstr>
      <vt:lpstr>Group Risk Categories</vt:lpstr>
      <vt:lpstr>Group Risk Categories</vt:lpstr>
      <vt:lpstr>Group Risk Categories</vt:lpstr>
      <vt:lpstr>Group Risk Categories</vt:lpstr>
      <vt:lpstr>Group Risk Categories</vt:lpstr>
      <vt:lpstr>PowerPoint Presentation</vt:lpstr>
      <vt:lpstr>2023 Southern Adventist University was awarded AHA Gold Workplace Health Achievement</vt:lpstr>
      <vt:lpstr>Questions &amp; Answers    </vt:lpstr>
    </vt:vector>
  </TitlesOfParts>
  <Company>Volkswagen Group Of Americ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ller, Katelyn</dc:creator>
  <cp:lastModifiedBy>Office Manager</cp:lastModifiedBy>
  <cp:revision>201</cp:revision>
  <dcterms:created xsi:type="dcterms:W3CDTF">2020-10-21T20:11:45Z</dcterms:created>
  <dcterms:modified xsi:type="dcterms:W3CDTF">2023-11-01T17:3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ff03fb8d-13f6-4167-a3cb-72a3013a35cf</vt:lpwstr>
  </property>
  <property fmtid="{D5CDD505-2E9C-101B-9397-08002B2CF9AE}" pid="3" name="SecurityClassification">
    <vt:lpwstr>Public</vt:lpwstr>
  </property>
  <property fmtid="{D5CDD505-2E9C-101B-9397-08002B2CF9AE}" pid="4" name="Retention">
    <vt:lpwstr/>
  </property>
  <property fmtid="{D5CDD505-2E9C-101B-9397-08002B2CF9AE}" pid="5" name="qConsentD">
    <vt:lpwstr/>
  </property>
</Properties>
</file>